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tiff" ContentType="image/tiff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3.xml" ContentType="application/vnd.openxmlformats-officedocument.theme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4.xml" ContentType="application/vnd.openxmlformats-officedocument.theme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5.xml" ContentType="application/vnd.openxmlformats-officedocument.theme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6.xml" ContentType="application/vnd.openxmlformats-officedocument.theme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7.xml" ContentType="application/vnd.openxmlformats-officedocument.theme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8.xml" ContentType="application/vnd.openxmlformats-officedocument.theme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9.xml" ContentType="application/vnd.openxmlformats-officedocument.theme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10.xml" ContentType="application/vnd.openxmlformats-officedocument.theme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11.xml" ContentType="application/vnd.openxmlformats-officedocument.theme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heme/theme12.xml" ContentType="application/vnd.openxmlformats-officedocument.theme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13.xml" ContentType="application/vnd.openxmlformats-officedocument.theme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theme/theme14.xml" ContentType="application/vnd.openxmlformats-officedocument.theme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theme/theme15.xml" ContentType="application/vnd.openxmlformats-officedocument.theme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theme/theme16.xml" ContentType="application/vnd.openxmlformats-officedocument.theme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theme/theme17.xml" ContentType="application/vnd.openxmlformats-officedocument.theme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theme/theme18.xml" ContentType="application/vnd.openxmlformats-officedocument.theme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theme/theme19.xml" ContentType="application/vnd.openxmlformats-officedocument.theme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tags/tag403.xml" ContentType="application/vnd.openxmlformats-officedocument.presentationml.tags+xml"/>
  <Override PartName="/ppt/tags/tag404.xml" ContentType="application/vnd.openxmlformats-officedocument.presentationml.tags+xml"/>
  <Override PartName="/ppt/theme/theme20.xml" ContentType="application/vnd.openxmlformats-officedocument.theme+xml"/>
  <Override PartName="/ppt/theme/theme21.xml" ContentType="application/vnd.openxmlformats-officedocument.theme+xml"/>
  <Override PartName="/ppt/tags/tag405.xml" ContentType="application/vnd.openxmlformats-officedocument.presentationml.tags+xml"/>
  <Override PartName="/ppt/tags/tag406.xml" ContentType="application/vnd.openxmlformats-officedocument.presentationml.tags+xml"/>
  <Override PartName="/ppt/notesSlides/notesSlide1.xml" ContentType="application/vnd.openxmlformats-officedocument.presentationml.notesSlide+xml"/>
  <Override PartName="/ppt/tags/tag407.xml" ContentType="application/vnd.openxmlformats-officedocument.presentationml.tags+xml"/>
  <Override PartName="/ppt/tags/tag408.xml" ContentType="application/vnd.openxmlformats-officedocument.presentationml.tags+xml"/>
  <Override PartName="/ppt/tags/tag409.xml" ContentType="application/vnd.openxmlformats-officedocument.presentationml.tags+xml"/>
  <Override PartName="/ppt/tags/tag410.xml" ContentType="application/vnd.openxmlformats-officedocument.presentationml.tags+xml"/>
  <Override PartName="/ppt/tags/tag411.xml" ContentType="application/vnd.openxmlformats-officedocument.presentationml.tags+xml"/>
  <Override PartName="/ppt/tags/tag412.xml" ContentType="application/vnd.openxmlformats-officedocument.presentationml.tags+xml"/>
  <Override PartName="/ppt/tags/tag413.xml" ContentType="application/vnd.openxmlformats-officedocument.presentationml.tags+xml"/>
  <Override PartName="/ppt/tags/tag414.xml" ContentType="application/vnd.openxmlformats-officedocument.presentationml.tags+xml"/>
  <Override PartName="/ppt/tags/tag415.xml" ContentType="application/vnd.openxmlformats-officedocument.presentationml.tags+xml"/>
  <Override PartName="/ppt/tags/tag416.xml" ContentType="application/vnd.openxmlformats-officedocument.presentationml.tags+xml"/>
  <Override PartName="/ppt/tags/tag417.xml" ContentType="application/vnd.openxmlformats-officedocument.presentationml.tags+xml"/>
  <Override PartName="/ppt/tags/tag418.xml" ContentType="application/vnd.openxmlformats-officedocument.presentationml.tags+xml"/>
  <Override PartName="/ppt/tags/tag419.xml" ContentType="application/vnd.openxmlformats-officedocument.presentationml.tags+xml"/>
  <Override PartName="/ppt/tags/tag420.xml" ContentType="application/vnd.openxmlformats-officedocument.presentationml.tags+xml"/>
  <Override PartName="/ppt/tags/tag421.xml" ContentType="application/vnd.openxmlformats-officedocument.presentationml.tags+xml"/>
  <Override PartName="/ppt/tags/tag422.xml" ContentType="application/vnd.openxmlformats-officedocument.presentationml.tags+xml"/>
  <Override PartName="/ppt/tags/tag423.xml" ContentType="application/vnd.openxmlformats-officedocument.presentationml.tags+xml"/>
  <Override PartName="/ppt/tags/tag424.xml" ContentType="application/vnd.openxmlformats-officedocument.presentationml.tags+xml"/>
  <Override PartName="/ppt/tags/tag425.xml" ContentType="application/vnd.openxmlformats-officedocument.presentationml.tags+xml"/>
  <Override PartName="/ppt/tags/tag426.xml" ContentType="application/vnd.openxmlformats-officedocument.presentationml.tags+xml"/>
  <Override PartName="/ppt/tags/tag427.xml" ContentType="application/vnd.openxmlformats-officedocument.presentationml.tags+xml"/>
  <Override PartName="/ppt/tags/tag428.xml" ContentType="application/vnd.openxmlformats-officedocument.presentationml.tags+xml"/>
  <Override PartName="/ppt/tags/tag429.xml" ContentType="application/vnd.openxmlformats-officedocument.presentationml.tags+xml"/>
  <Override PartName="/ppt/tags/tag430.xml" ContentType="application/vnd.openxmlformats-officedocument.presentationml.tags+xml"/>
  <Override PartName="/ppt/tags/tag431.xml" ContentType="application/vnd.openxmlformats-officedocument.presentationml.tags+xml"/>
  <Override PartName="/ppt/tags/tag432.xml" ContentType="application/vnd.openxmlformats-officedocument.presentationml.tags+xml"/>
  <Override PartName="/ppt/tags/tag433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trictFirstAndLastChars="0" saveSubsetFonts="1">
  <p:sldMasterIdLst>
    <p:sldMasterId id="2147483648" r:id="rId1"/>
    <p:sldMasterId id="2147483702" r:id="rId2"/>
    <p:sldMasterId id="2147483706" r:id="rId3"/>
    <p:sldMasterId id="2147483711" r:id="rId4"/>
    <p:sldMasterId id="2147483716" r:id="rId5"/>
    <p:sldMasterId id="2147483720" r:id="rId6"/>
    <p:sldMasterId id="2147483725" r:id="rId7"/>
    <p:sldMasterId id="2147483729" r:id="rId8"/>
    <p:sldMasterId id="2147483734" r:id="rId9"/>
    <p:sldMasterId id="2147483739" r:id="rId10"/>
    <p:sldMasterId id="2147483744" r:id="rId11"/>
    <p:sldMasterId id="2147483749" r:id="rId12"/>
    <p:sldMasterId id="2147483754" r:id="rId13"/>
    <p:sldMasterId id="2147483759" r:id="rId14"/>
    <p:sldMasterId id="2147483764" r:id="rId15"/>
    <p:sldMasterId id="2147483769" r:id="rId16"/>
    <p:sldMasterId id="2147483774" r:id="rId17"/>
    <p:sldMasterId id="2147483779" r:id="rId18"/>
    <p:sldMasterId id="2147483783" r:id="rId19"/>
  </p:sldMasterIdLst>
  <p:notesMasterIdLst>
    <p:notesMasterId r:id="rId23"/>
  </p:notesMasterIdLst>
  <p:handoutMasterIdLst>
    <p:handoutMasterId r:id="rId24"/>
  </p:handoutMasterIdLst>
  <p:sldIdLst>
    <p:sldId id="666" r:id="rId20"/>
    <p:sldId id="664" r:id="rId21"/>
    <p:sldId id="665" r:id="rId22"/>
  </p:sldIdLst>
  <p:sldSz cx="11949113" cy="6721475"/>
  <p:notesSz cx="9236075" cy="6954838"/>
  <p:custDataLst>
    <p:tags r:id="rId25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480" userDrawn="1">
          <p15:clr>
            <a:srgbClr val="A4A3A4"/>
          </p15:clr>
        </p15:guide>
        <p15:guide id="2" pos="812" userDrawn="1">
          <p15:clr>
            <a:srgbClr val="A4A3A4"/>
          </p15:clr>
        </p15:guide>
        <p15:guide id="3" pos="2952" userDrawn="1">
          <p15:clr>
            <a:srgbClr val="A4A3A4"/>
          </p15:clr>
        </p15:guide>
        <p15:guide id="4" orient="horz" pos="2213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191" userDrawn="1">
          <p15:clr>
            <a:srgbClr val="A4A3A4"/>
          </p15:clr>
        </p15:guide>
        <p15:guide id="2" pos="2909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hor" initials="A" lastIdx="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FF9933"/>
    <a:srgbClr val="0065BD"/>
    <a:srgbClr val="FFFFFF"/>
    <a:srgbClr val="E2E2E2"/>
    <a:srgbClr val="C5C5C5"/>
    <a:srgbClr val="F0A1A6"/>
    <a:srgbClr val="E9717A"/>
    <a:srgbClr val="B3B3B3"/>
    <a:srgbClr val="7188FB"/>
    <a:srgbClr val="CD202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5854" autoAdjust="0"/>
    <p:restoredTop sz="96208" autoAdjust="0"/>
  </p:normalViewPr>
  <p:slideViewPr>
    <p:cSldViewPr snapToGrid="0" snapToObjects="1">
      <p:cViewPr varScale="1">
        <p:scale>
          <a:sx n="121" d="100"/>
          <a:sy n="121" d="100"/>
        </p:scale>
        <p:origin x="856" y="176"/>
      </p:cViewPr>
      <p:guideLst>
        <p:guide orient="horz" pos="1480"/>
        <p:guide pos="812"/>
        <p:guide pos="2952"/>
        <p:guide orient="horz" pos="2213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200" d="100"/>
        <a:sy n="200" d="100"/>
      </p:scale>
      <p:origin x="0" y="0"/>
    </p:cViewPr>
  </p:sorterViewPr>
  <p:notesViewPr>
    <p:cSldViewPr snapToGrid="0" snapToObjects="1">
      <p:cViewPr varScale="1">
        <p:scale>
          <a:sx n="80" d="100"/>
          <a:sy n="80" d="100"/>
        </p:scale>
        <p:origin x="1530" y="102"/>
      </p:cViewPr>
      <p:guideLst>
        <p:guide orient="horz" pos="2191"/>
        <p:guide pos="2909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Master" Target="slideMasters/slideMaster13.xml"/><Relationship Id="rId18" Type="http://schemas.openxmlformats.org/officeDocument/2006/relationships/slideMaster" Target="slideMasters/slideMaster18.xml"/><Relationship Id="rId26" Type="http://schemas.openxmlformats.org/officeDocument/2006/relationships/commentAuthors" Target="commentAuthors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2.xml"/><Relationship Id="rId7" Type="http://schemas.openxmlformats.org/officeDocument/2006/relationships/slideMaster" Target="slideMasters/slideMaster7.xml"/><Relationship Id="rId12" Type="http://schemas.openxmlformats.org/officeDocument/2006/relationships/slideMaster" Target="slideMasters/slideMaster12.xml"/><Relationship Id="rId17" Type="http://schemas.openxmlformats.org/officeDocument/2006/relationships/slideMaster" Target="slideMasters/slideMaster17.xml"/><Relationship Id="rId25" Type="http://schemas.openxmlformats.org/officeDocument/2006/relationships/tags" Target="tags/tag1.xml"/><Relationship Id="rId2" Type="http://schemas.openxmlformats.org/officeDocument/2006/relationships/slideMaster" Target="slideMasters/slideMaster2.xml"/><Relationship Id="rId16" Type="http://schemas.openxmlformats.org/officeDocument/2006/relationships/slideMaster" Target="slideMasters/slideMaster16.xml"/><Relationship Id="rId20" Type="http://schemas.openxmlformats.org/officeDocument/2006/relationships/slide" Target="slides/slide1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handoutMaster" Target="handoutMasters/handoutMaster1.xml"/><Relationship Id="rId5" Type="http://schemas.openxmlformats.org/officeDocument/2006/relationships/slideMaster" Target="slideMasters/slideMaster5.xml"/><Relationship Id="rId15" Type="http://schemas.openxmlformats.org/officeDocument/2006/relationships/slideMaster" Target="slideMasters/slideMaster15.xml"/><Relationship Id="rId23" Type="http://schemas.openxmlformats.org/officeDocument/2006/relationships/notesMaster" Target="notesMasters/notesMaster1.xml"/><Relationship Id="rId28" Type="http://schemas.openxmlformats.org/officeDocument/2006/relationships/viewProps" Target="viewProps.xml"/><Relationship Id="rId10" Type="http://schemas.openxmlformats.org/officeDocument/2006/relationships/slideMaster" Target="slideMasters/slideMaster10.xml"/><Relationship Id="rId19" Type="http://schemas.openxmlformats.org/officeDocument/2006/relationships/slideMaster" Target="slideMasters/slideMaster19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Master" Target="slideMasters/slideMaster14.xml"/><Relationship Id="rId22" Type="http://schemas.openxmlformats.org/officeDocument/2006/relationships/slide" Target="slides/slide3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9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9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1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915621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0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2392363" y="373063"/>
            <a:ext cx="4518025" cy="2543175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747932" y="3737112"/>
            <a:ext cx="7870666" cy="124849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8242460" y="6646084"/>
            <a:ext cx="732710" cy="1716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100"/>
            </a:lvl1pPr>
          </a:lstStyle>
          <a:p>
            <a:pPr>
              <a:defRPr/>
            </a:pPr>
            <a:fld id="{3C3A632B-FBDE-46D4-BF6F-6D14421E634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8975107" y="54598"/>
            <a:ext cx="65" cy="1092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700"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302559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117475" indent="-115888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300038" indent="-180975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427038" indent="-125413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542925" indent="-114300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50825" y="549275"/>
            <a:ext cx="6648450" cy="3740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45973" y="5304975"/>
            <a:ext cx="5745398" cy="24622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504785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49238" y="549275"/>
            <a:ext cx="6650037" cy="3740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74896" y="5499467"/>
            <a:ext cx="6049780" cy="24622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1323988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66.xml"/><Relationship Id="rId2" Type="http://schemas.openxmlformats.org/officeDocument/2006/relationships/tags" Target="../tags/tag65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7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4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85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6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86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9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7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87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5.jp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8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88.xml"/><Relationship Id="rId1" Type="http://schemas.openxmlformats.org/officeDocument/2006/relationships/vmlDrawing" Target="../drawings/vmlDrawing19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19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107.xml"/><Relationship Id="rId7" Type="http://schemas.openxmlformats.org/officeDocument/2006/relationships/image" Target="../media/image5.jpg"/><Relationship Id="rId2" Type="http://schemas.openxmlformats.org/officeDocument/2006/relationships/tags" Target="../tags/tag106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1.bin"/><Relationship Id="rId4" Type="http://schemas.openxmlformats.org/officeDocument/2006/relationships/slideMaster" Target="../slideMasters/slideMaster5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08.xml"/><Relationship Id="rId1" Type="http://schemas.openxmlformats.org/officeDocument/2006/relationships/vmlDrawing" Target="../drawings/vmlDrawing2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2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110.xml"/><Relationship Id="rId2" Type="http://schemas.openxmlformats.org/officeDocument/2006/relationships/tags" Target="../tags/tag109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3.bin"/><Relationship Id="rId4" Type="http://schemas.openxmlformats.org/officeDocument/2006/relationships/slideMaster" Target="../slideMasters/slideMaster5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13.png"/><Relationship Id="rId2" Type="http://schemas.openxmlformats.org/officeDocument/2006/relationships/tags" Target="../tags/tag128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5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29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9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26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30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5.jpg"/><Relationship Id="rId5" Type="http://schemas.openxmlformats.org/officeDocument/2006/relationships/image" Target="../media/image4.emf"/><Relationship Id="rId4" Type="http://schemas.openxmlformats.org/officeDocument/2006/relationships/oleObject" Target="../embeddings/oleObject27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31.xml"/><Relationship Id="rId1" Type="http://schemas.openxmlformats.org/officeDocument/2006/relationships/vmlDrawing" Target="../drawings/vmlDrawing28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28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7" Type="http://schemas.openxmlformats.org/officeDocument/2006/relationships/image" Target="../media/image8.png"/><Relationship Id="rId2" Type="http://schemas.openxmlformats.org/officeDocument/2006/relationships/tags" Target="../tags/tag149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7.jp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0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tags" Target="../tags/tag151.xml"/><Relationship Id="rId7" Type="http://schemas.openxmlformats.org/officeDocument/2006/relationships/image" Target="../media/image9.png"/><Relationship Id="rId2" Type="http://schemas.openxmlformats.org/officeDocument/2006/relationships/tags" Target="../tags/tag150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31.bin"/><Relationship Id="rId4" Type="http://schemas.openxmlformats.org/officeDocument/2006/relationships/slideMaster" Target="../slideMasters/slideMaster7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tags" Target="../tags/tag153.xml"/><Relationship Id="rId7" Type="http://schemas.openxmlformats.org/officeDocument/2006/relationships/image" Target="../media/image5.jpg"/><Relationship Id="rId2" Type="http://schemas.openxmlformats.org/officeDocument/2006/relationships/tags" Target="../tags/tag152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32.bin"/><Relationship Id="rId4" Type="http://schemas.openxmlformats.org/officeDocument/2006/relationships/slideMaster" Target="../slideMasters/slideMaster7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171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4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172.xml"/><Relationship Id="rId1" Type="http://schemas.openxmlformats.org/officeDocument/2006/relationships/vmlDrawing" Target="../drawings/vmlDrawing35.vml"/><Relationship Id="rId6" Type="http://schemas.openxmlformats.org/officeDocument/2006/relationships/image" Target="../media/image9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35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173.xml"/><Relationship Id="rId1" Type="http://schemas.openxmlformats.org/officeDocument/2006/relationships/vmlDrawing" Target="../drawings/vmlDrawing36.vml"/><Relationship Id="rId6" Type="http://schemas.openxmlformats.org/officeDocument/2006/relationships/image" Target="../media/image5.jpg"/><Relationship Id="rId5" Type="http://schemas.openxmlformats.org/officeDocument/2006/relationships/image" Target="../media/image4.emf"/><Relationship Id="rId4" Type="http://schemas.openxmlformats.org/officeDocument/2006/relationships/oleObject" Target="../embeddings/oleObject36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174.xml"/><Relationship Id="rId1" Type="http://schemas.openxmlformats.org/officeDocument/2006/relationships/vmlDrawing" Target="../drawings/vmlDrawing37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37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5.jpg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192.xml"/><Relationship Id="rId1" Type="http://schemas.openxmlformats.org/officeDocument/2006/relationships/vmlDrawing" Target="../drawings/vmlDrawing39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9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193.xml"/><Relationship Id="rId1" Type="http://schemas.openxmlformats.org/officeDocument/2006/relationships/vmlDrawing" Target="../drawings/vmlDrawing40.vml"/><Relationship Id="rId6" Type="http://schemas.openxmlformats.org/officeDocument/2006/relationships/image" Target="../media/image9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40.bin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194.xml"/><Relationship Id="rId1" Type="http://schemas.openxmlformats.org/officeDocument/2006/relationships/vmlDrawing" Target="../drawings/vmlDrawing41.vml"/><Relationship Id="rId6" Type="http://schemas.openxmlformats.org/officeDocument/2006/relationships/image" Target="../media/image5.jpg"/><Relationship Id="rId5" Type="http://schemas.openxmlformats.org/officeDocument/2006/relationships/image" Target="../media/image4.emf"/><Relationship Id="rId4" Type="http://schemas.openxmlformats.org/officeDocument/2006/relationships/oleObject" Target="../embeddings/oleObject41.bin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195.xml"/><Relationship Id="rId1" Type="http://schemas.openxmlformats.org/officeDocument/2006/relationships/vmlDrawing" Target="../drawings/vmlDrawing42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42.bin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213.xml"/><Relationship Id="rId1" Type="http://schemas.openxmlformats.org/officeDocument/2006/relationships/vmlDrawing" Target="../drawings/vmlDrawing44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44.bin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214.xml"/><Relationship Id="rId1" Type="http://schemas.openxmlformats.org/officeDocument/2006/relationships/vmlDrawing" Target="../drawings/vmlDrawing45.vml"/><Relationship Id="rId6" Type="http://schemas.openxmlformats.org/officeDocument/2006/relationships/image" Target="../media/image9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45.bin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215.xml"/><Relationship Id="rId1" Type="http://schemas.openxmlformats.org/officeDocument/2006/relationships/vmlDrawing" Target="../drawings/vmlDrawing46.vml"/><Relationship Id="rId6" Type="http://schemas.openxmlformats.org/officeDocument/2006/relationships/image" Target="../media/image5.jpg"/><Relationship Id="rId5" Type="http://schemas.openxmlformats.org/officeDocument/2006/relationships/image" Target="../media/image4.emf"/><Relationship Id="rId4" Type="http://schemas.openxmlformats.org/officeDocument/2006/relationships/oleObject" Target="../embeddings/oleObject46.bin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216.xml"/><Relationship Id="rId1" Type="http://schemas.openxmlformats.org/officeDocument/2006/relationships/vmlDrawing" Target="../drawings/vmlDrawing47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47.bin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234.xml"/><Relationship Id="rId1" Type="http://schemas.openxmlformats.org/officeDocument/2006/relationships/vmlDrawing" Target="../drawings/vmlDrawing49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49.bin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235.xml"/><Relationship Id="rId1" Type="http://schemas.openxmlformats.org/officeDocument/2006/relationships/vmlDrawing" Target="../drawings/vmlDrawing50.vml"/><Relationship Id="rId6" Type="http://schemas.openxmlformats.org/officeDocument/2006/relationships/image" Target="../media/image9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50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5.bin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236.xml"/><Relationship Id="rId1" Type="http://schemas.openxmlformats.org/officeDocument/2006/relationships/vmlDrawing" Target="../drawings/vmlDrawing51.vml"/><Relationship Id="rId6" Type="http://schemas.openxmlformats.org/officeDocument/2006/relationships/image" Target="../media/image5.jpg"/><Relationship Id="rId5" Type="http://schemas.openxmlformats.org/officeDocument/2006/relationships/image" Target="../media/image4.emf"/><Relationship Id="rId4" Type="http://schemas.openxmlformats.org/officeDocument/2006/relationships/oleObject" Target="../embeddings/oleObject51.bin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237.xml"/><Relationship Id="rId1" Type="http://schemas.openxmlformats.org/officeDocument/2006/relationships/vmlDrawing" Target="../drawings/vmlDrawing52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52.bin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255.xml"/><Relationship Id="rId1" Type="http://schemas.openxmlformats.org/officeDocument/2006/relationships/vmlDrawing" Target="../drawings/vmlDrawing54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54.bin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256.xml"/><Relationship Id="rId1" Type="http://schemas.openxmlformats.org/officeDocument/2006/relationships/vmlDrawing" Target="../drawings/vmlDrawing55.vml"/><Relationship Id="rId6" Type="http://schemas.openxmlformats.org/officeDocument/2006/relationships/image" Target="../media/image9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55.bin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257.xml"/><Relationship Id="rId1" Type="http://schemas.openxmlformats.org/officeDocument/2006/relationships/vmlDrawing" Target="../drawings/vmlDrawing56.vml"/><Relationship Id="rId6" Type="http://schemas.openxmlformats.org/officeDocument/2006/relationships/image" Target="../media/image5.jpg"/><Relationship Id="rId5" Type="http://schemas.openxmlformats.org/officeDocument/2006/relationships/image" Target="../media/image4.emf"/><Relationship Id="rId4" Type="http://schemas.openxmlformats.org/officeDocument/2006/relationships/oleObject" Target="../embeddings/oleObject56.bin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258.xml"/><Relationship Id="rId1" Type="http://schemas.openxmlformats.org/officeDocument/2006/relationships/vmlDrawing" Target="../drawings/vmlDrawing57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57.bin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276.xml"/><Relationship Id="rId1" Type="http://schemas.openxmlformats.org/officeDocument/2006/relationships/vmlDrawing" Target="../drawings/vmlDrawing59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59.bin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277.xml"/><Relationship Id="rId1" Type="http://schemas.openxmlformats.org/officeDocument/2006/relationships/vmlDrawing" Target="../drawings/vmlDrawing60.vml"/><Relationship Id="rId6" Type="http://schemas.openxmlformats.org/officeDocument/2006/relationships/image" Target="../media/image9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60.bin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278.xml"/><Relationship Id="rId1" Type="http://schemas.openxmlformats.org/officeDocument/2006/relationships/vmlDrawing" Target="../drawings/vmlDrawing61.vml"/><Relationship Id="rId6" Type="http://schemas.openxmlformats.org/officeDocument/2006/relationships/image" Target="../media/image5.jpg"/><Relationship Id="rId5" Type="http://schemas.openxmlformats.org/officeDocument/2006/relationships/image" Target="../media/image4.emf"/><Relationship Id="rId4" Type="http://schemas.openxmlformats.org/officeDocument/2006/relationships/oleObject" Target="../embeddings/oleObject61.bin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279.xml"/><Relationship Id="rId1" Type="http://schemas.openxmlformats.org/officeDocument/2006/relationships/vmlDrawing" Target="../drawings/vmlDrawing62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62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8.png"/><Relationship Id="rId2" Type="http://schemas.openxmlformats.org/officeDocument/2006/relationships/tags" Target="../tags/tag40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7.jpg"/><Relationship Id="rId5" Type="http://schemas.openxmlformats.org/officeDocument/2006/relationships/image" Target="../media/image2.emf"/><Relationship Id="rId4" Type="http://schemas.openxmlformats.org/officeDocument/2006/relationships/oleObject" Target="../embeddings/oleObject7.bin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297.xml"/><Relationship Id="rId1" Type="http://schemas.openxmlformats.org/officeDocument/2006/relationships/vmlDrawing" Target="../drawings/vmlDrawing64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64.bin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298.xml"/><Relationship Id="rId1" Type="http://schemas.openxmlformats.org/officeDocument/2006/relationships/vmlDrawing" Target="../drawings/vmlDrawing65.vml"/><Relationship Id="rId6" Type="http://schemas.openxmlformats.org/officeDocument/2006/relationships/image" Target="../media/image9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65.bin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299.xml"/><Relationship Id="rId1" Type="http://schemas.openxmlformats.org/officeDocument/2006/relationships/vmlDrawing" Target="../drawings/vmlDrawing66.vml"/><Relationship Id="rId6" Type="http://schemas.openxmlformats.org/officeDocument/2006/relationships/image" Target="../media/image5.jpg"/><Relationship Id="rId5" Type="http://schemas.openxmlformats.org/officeDocument/2006/relationships/image" Target="../media/image4.emf"/><Relationship Id="rId4" Type="http://schemas.openxmlformats.org/officeDocument/2006/relationships/oleObject" Target="../embeddings/oleObject66.bin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300.xml"/><Relationship Id="rId1" Type="http://schemas.openxmlformats.org/officeDocument/2006/relationships/vmlDrawing" Target="../drawings/vmlDrawing67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67.bin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318.xml"/><Relationship Id="rId1" Type="http://schemas.openxmlformats.org/officeDocument/2006/relationships/vmlDrawing" Target="../drawings/vmlDrawing69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69.bin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319.xml"/><Relationship Id="rId1" Type="http://schemas.openxmlformats.org/officeDocument/2006/relationships/vmlDrawing" Target="../drawings/vmlDrawing70.vml"/><Relationship Id="rId6" Type="http://schemas.openxmlformats.org/officeDocument/2006/relationships/image" Target="../media/image9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70.bin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320.xml"/><Relationship Id="rId1" Type="http://schemas.openxmlformats.org/officeDocument/2006/relationships/vmlDrawing" Target="../drawings/vmlDrawing71.vml"/><Relationship Id="rId6" Type="http://schemas.openxmlformats.org/officeDocument/2006/relationships/image" Target="../media/image5.jpg"/><Relationship Id="rId5" Type="http://schemas.openxmlformats.org/officeDocument/2006/relationships/image" Target="../media/image4.emf"/><Relationship Id="rId4" Type="http://schemas.openxmlformats.org/officeDocument/2006/relationships/oleObject" Target="../embeddings/oleObject71.bin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321.xml"/><Relationship Id="rId1" Type="http://schemas.openxmlformats.org/officeDocument/2006/relationships/vmlDrawing" Target="../drawings/vmlDrawing72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72.bin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339.xml"/><Relationship Id="rId1" Type="http://schemas.openxmlformats.org/officeDocument/2006/relationships/vmlDrawing" Target="../drawings/vmlDrawing74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74.bin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340.xml"/><Relationship Id="rId1" Type="http://schemas.openxmlformats.org/officeDocument/2006/relationships/vmlDrawing" Target="../drawings/vmlDrawing75.vml"/><Relationship Id="rId6" Type="http://schemas.openxmlformats.org/officeDocument/2006/relationships/image" Target="../media/image9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75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7" Type="http://schemas.openxmlformats.org/officeDocument/2006/relationships/image" Target="../media/image9.png"/><Relationship Id="rId2" Type="http://schemas.openxmlformats.org/officeDocument/2006/relationships/tags" Target="../tags/tag41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2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341.xml"/><Relationship Id="rId1" Type="http://schemas.openxmlformats.org/officeDocument/2006/relationships/vmlDrawing" Target="../drawings/vmlDrawing76.vml"/><Relationship Id="rId6" Type="http://schemas.openxmlformats.org/officeDocument/2006/relationships/image" Target="../media/image5.jpg"/><Relationship Id="rId5" Type="http://schemas.openxmlformats.org/officeDocument/2006/relationships/image" Target="../media/image4.emf"/><Relationship Id="rId4" Type="http://schemas.openxmlformats.org/officeDocument/2006/relationships/oleObject" Target="../embeddings/oleObject76.bin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342.xml"/><Relationship Id="rId1" Type="http://schemas.openxmlformats.org/officeDocument/2006/relationships/vmlDrawing" Target="../drawings/vmlDrawing77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77.bin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360.xml"/><Relationship Id="rId1" Type="http://schemas.openxmlformats.org/officeDocument/2006/relationships/vmlDrawing" Target="../drawings/vmlDrawing79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79.bin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361.xml"/><Relationship Id="rId1" Type="http://schemas.openxmlformats.org/officeDocument/2006/relationships/vmlDrawing" Target="../drawings/vmlDrawing80.vml"/><Relationship Id="rId6" Type="http://schemas.openxmlformats.org/officeDocument/2006/relationships/image" Target="../media/image9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80.bin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362.xml"/><Relationship Id="rId1" Type="http://schemas.openxmlformats.org/officeDocument/2006/relationships/vmlDrawing" Target="../drawings/vmlDrawing81.vml"/><Relationship Id="rId6" Type="http://schemas.openxmlformats.org/officeDocument/2006/relationships/image" Target="../media/image5.jpg"/><Relationship Id="rId5" Type="http://schemas.openxmlformats.org/officeDocument/2006/relationships/image" Target="../media/image4.emf"/><Relationship Id="rId4" Type="http://schemas.openxmlformats.org/officeDocument/2006/relationships/oleObject" Target="../embeddings/oleObject81.bin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363.xml"/><Relationship Id="rId1" Type="http://schemas.openxmlformats.org/officeDocument/2006/relationships/vmlDrawing" Target="../drawings/vmlDrawing82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82.bin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2" Type="http://schemas.openxmlformats.org/officeDocument/2006/relationships/tags" Target="../tags/tag381.xml"/><Relationship Id="rId1" Type="http://schemas.openxmlformats.org/officeDocument/2006/relationships/vmlDrawing" Target="../drawings/vmlDrawing84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84.bin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2" Type="http://schemas.openxmlformats.org/officeDocument/2006/relationships/tags" Target="../tags/tag382.xml"/><Relationship Id="rId1" Type="http://schemas.openxmlformats.org/officeDocument/2006/relationships/vmlDrawing" Target="../drawings/vmlDrawing85.vml"/><Relationship Id="rId6" Type="http://schemas.openxmlformats.org/officeDocument/2006/relationships/image" Target="../media/image9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85.bin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2" Type="http://schemas.openxmlformats.org/officeDocument/2006/relationships/tags" Target="../tags/tag383.xml"/><Relationship Id="rId1" Type="http://schemas.openxmlformats.org/officeDocument/2006/relationships/vmlDrawing" Target="../drawings/vmlDrawing86.vml"/><Relationship Id="rId6" Type="http://schemas.openxmlformats.org/officeDocument/2006/relationships/image" Target="../media/image5.jpg"/><Relationship Id="rId5" Type="http://schemas.openxmlformats.org/officeDocument/2006/relationships/image" Target="../media/image4.emf"/><Relationship Id="rId4" Type="http://schemas.openxmlformats.org/officeDocument/2006/relationships/oleObject" Target="../embeddings/oleObject86.bin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2" Type="http://schemas.openxmlformats.org/officeDocument/2006/relationships/tags" Target="../tags/tag401.xml"/><Relationship Id="rId1" Type="http://schemas.openxmlformats.org/officeDocument/2006/relationships/vmlDrawing" Target="../drawings/vmlDrawing88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88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44.xml"/><Relationship Id="rId7" Type="http://schemas.openxmlformats.org/officeDocument/2006/relationships/image" Target="../media/image5.jpg"/><Relationship Id="rId2" Type="http://schemas.openxmlformats.org/officeDocument/2006/relationships/tags" Target="../tags/tag43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2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2" Type="http://schemas.openxmlformats.org/officeDocument/2006/relationships/tags" Target="../tags/tag402.xml"/><Relationship Id="rId1" Type="http://schemas.openxmlformats.org/officeDocument/2006/relationships/vmlDrawing" Target="../drawings/vmlDrawing89.vml"/><Relationship Id="rId6" Type="http://schemas.openxmlformats.org/officeDocument/2006/relationships/image" Target="../media/image9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89.bin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2" Type="http://schemas.openxmlformats.org/officeDocument/2006/relationships/tags" Target="../tags/tag403.xml"/><Relationship Id="rId1" Type="http://schemas.openxmlformats.org/officeDocument/2006/relationships/vmlDrawing" Target="../drawings/vmlDrawing90.vml"/><Relationship Id="rId6" Type="http://schemas.openxmlformats.org/officeDocument/2006/relationships/image" Target="../media/image5.jpg"/><Relationship Id="rId5" Type="http://schemas.openxmlformats.org/officeDocument/2006/relationships/image" Target="../media/image4.emf"/><Relationship Id="rId4" Type="http://schemas.openxmlformats.org/officeDocument/2006/relationships/oleObject" Target="../embeddings/oleObject90.bin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2" Type="http://schemas.openxmlformats.org/officeDocument/2006/relationships/tags" Target="../tags/tag404.xml"/><Relationship Id="rId1" Type="http://schemas.openxmlformats.org/officeDocument/2006/relationships/vmlDrawing" Target="../drawings/vmlDrawing91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91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1.bin"/><Relationship Id="rId4" Type="http://schemas.openxmlformats.org/officeDocument/2006/relationships/image" Target="../media/image10.jp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64.xml"/><Relationship Id="rId2" Type="http://schemas.openxmlformats.org/officeDocument/2006/relationships/tags" Target="../tags/tag6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4893747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998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 dirty="0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>
                <a:solidFill>
                  <a:srgbClr val="FFFFFF"/>
                </a:solidFill>
              </a:rPr>
              <a:t>Last Modified 11/23/2018 3:04 PM India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 dirty="0">
                <a:solidFill>
                  <a:srgbClr val="FFFFFF"/>
                </a:solidFill>
              </a:rPr>
              <a:t>Printed 23/04/2018 21:25 Romance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:a16="http://schemas.microsoft.com/office/drawing/2014/main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78031976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43F2BD7-B1BB-459F-B5BD-F3673250FEC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5803" name="think-cell Slide" r:id="rId5" imgW="524" imgH="526" progId="TCLayout.ActiveDocument.1">
                  <p:embed/>
                </p:oleObj>
              </mc:Choice>
              <mc:Fallback>
                <p:oleObj name="think-cell Slide" r:id="rId5" imgW="524" imgH="5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43F2BD7-B1BB-459F-B5BD-F3673250FE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lide Number"/>
          <p:cNvSpPr txBox="1">
            <a:spLocks/>
          </p:cNvSpPr>
          <p:nvPr userDrawn="1"/>
        </p:nvSpPr>
        <p:spPr bwMode="black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bg1"/>
                </a:solidFill>
              </a:rPr>
              <a:pPr lvl="0"/>
              <a:t>‹#›</a:t>
            </a:fld>
            <a:endParaRPr lang="en-US" sz="800" dirty="0">
              <a:solidFill>
                <a:schemeClr val="bg1"/>
              </a:solidFill>
            </a:endParaRPr>
          </a:p>
        </p:txBody>
      </p:sp>
      <p:sp>
        <p:nvSpPr>
          <p:cNvPr id="10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bg1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 eaLnBrk="1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51802075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Inner Whit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6827" name="think-cell Slide" r:id="rId4" imgW="530" imgH="528" progId="TCLayout.ActiveDocument.1">
                  <p:embed/>
                </p:oleObj>
              </mc:Choice>
              <mc:Fallback>
                <p:oleObj name="think-cell Slide" r:id="rId4" imgW="530" imgH="52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5775508" y="6016520"/>
            <a:ext cx="2786675" cy="426584"/>
          </a:xfrm>
          <a:prstGeom prst="rect">
            <a:avLst/>
          </a:prstGeom>
        </p:spPr>
        <p:txBody>
          <a:bodyPr/>
          <a:lstStyle/>
          <a:p>
            <a:fld id="{F5FF2FB9-B594-4DEC-BD0E-93C68DC777C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39419726"/>
      </p:ext>
    </p:extLst>
  </p:cSld>
  <p:clrMapOvr>
    <a:masterClrMapping/>
  </p:clrMapOvr>
  <p:transition spd="med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202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 dirty="0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>
                <a:solidFill>
                  <a:srgbClr val="FFFFFF"/>
                </a:solidFill>
              </a:rPr>
              <a:t>Last Modified 11/23/2018 3:04 PM India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 dirty="0">
                <a:solidFill>
                  <a:srgbClr val="FFFFFF"/>
                </a:solidFill>
              </a:rPr>
              <a:t>Printed 23/04/2018 21:25 Romance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2" name="SlideLogoText">
            <a:extLst>
              <a:ext uri="{FF2B5EF4-FFF2-40B4-BE49-F238E27FC236}">
                <a16:creationId xmlns:a16="http://schemas.microsoft.com/office/drawing/2014/main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420495917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9641253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2958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:a16="http://schemas.microsoft.com/office/drawing/2014/main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392263635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3980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06083395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5004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:a16="http://schemas.microsoft.com/office/drawing/2014/main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128646102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1137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lide Number"/>
          <p:cNvSpPr txBox="1">
            <a:spLocks/>
          </p:cNvSpPr>
          <p:nvPr userDrawn="1"/>
        </p:nvSpPr>
        <p:spPr bwMode="black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bg1"/>
                </a:solidFill>
              </a:rPr>
              <a:pPr lvl="0"/>
              <a:t>‹#›</a:t>
            </a:fld>
            <a:endParaRPr lang="en-US" sz="800" dirty="0">
              <a:solidFill>
                <a:schemeClr val="bg1"/>
              </a:solidFill>
            </a:endParaRPr>
          </a:p>
        </p:txBody>
      </p:sp>
      <p:sp>
        <p:nvSpPr>
          <p:cNvPr id="10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bg1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60780764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2579814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908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193414630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2026218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0117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accent6"/>
                </a:solidFill>
              </a:rPr>
              <a:pPr lvl="0"/>
              <a:t>‹#›</a:t>
            </a:fld>
            <a:endParaRPr lang="en-US" sz="800" dirty="0">
              <a:solidFill>
                <a:schemeClr val="accent6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99455424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633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 dirty="0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>
                <a:solidFill>
                  <a:srgbClr val="FFFFFF"/>
                </a:solidFill>
              </a:rPr>
              <a:t>Last Modified 11/23/2018 3:04 PM India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 dirty="0">
                <a:solidFill>
                  <a:srgbClr val="FFFFFF"/>
                </a:solidFill>
              </a:rPr>
              <a:t>Printed 23/04/2018 21:25 Romance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:a16="http://schemas.microsoft.com/office/drawing/2014/main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8F2420E4-0252-48E4-B525-8A2F6D6C6EDE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13164" y="5218905"/>
            <a:ext cx="2569024" cy="11077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170061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6807332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2822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3" name="SlideLogoText">
            <a:extLst>
              <a:ext uri="{FF2B5EF4-FFF2-40B4-BE49-F238E27FC236}">
                <a16:creationId xmlns:a16="http://schemas.microsoft.com/office/drawing/2014/main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180639301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 userDrawn="1">
          <p15:clr>
            <a:srgbClr val="F26B43"/>
          </p15:clr>
        </p15:guide>
        <p15:guide id="2" pos="99" userDrawn="1">
          <p15:clr>
            <a:srgbClr val="F26B43"/>
          </p15:clr>
        </p15:guide>
        <p15:guide id="3" orient="horz" pos="688" userDrawn="1">
          <p15:clr>
            <a:srgbClr val="F26B43"/>
          </p15:clr>
        </p15:guide>
        <p15:guide id="4" orient="horz" pos="3911" userDrawn="1">
          <p15:clr>
            <a:srgbClr val="F26B43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7271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:a16="http://schemas.microsoft.com/office/drawing/2014/main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89704362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295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04043030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9319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:a16="http://schemas.microsoft.com/office/drawing/2014/main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83956973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451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>
            <a:extLst>
              <a:ext uri="{FF2B5EF4-FFF2-40B4-BE49-F238E27FC236}">
                <a16:creationId xmlns:a16="http://schemas.microsoft.com/office/drawing/2014/main" id="{CA9A3303-D266-4F48-B4F1-412079AA6761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" y="1589"/>
            <a:ext cx="11942925" cy="6719886"/>
          </a:xfrm>
          <a:prstGeom prst="rect">
            <a:avLst/>
          </a:prstGeom>
        </p:spPr>
      </p:pic>
      <p:sp>
        <p:nvSpPr>
          <p:cNvPr id="37" name="TitleRectangle"/>
          <p:cNvSpPr>
            <a:spLocks/>
          </p:cNvSpPr>
          <p:nvPr userDrawn="1"/>
        </p:nvSpPr>
        <p:spPr bwMode="white">
          <a:xfrm>
            <a:off x="2779713" y="-1"/>
            <a:ext cx="9169400" cy="3967882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4" name="Working Draft Text"/>
          <p:cNvSpPr txBox="1">
            <a:spLocks noChangeArrowheads="1"/>
          </p:cNvSpPr>
          <p:nvPr userDrawn="1"/>
        </p:nvSpPr>
        <p:spPr bwMode="black">
          <a:xfrm>
            <a:off x="8105867" y="6254080"/>
            <a:ext cx="88255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="1" baseline="0" noProof="0" dirty="0">
                <a:solidFill>
                  <a:schemeClr val="bg1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 userDrawn="1"/>
        </p:nvSpPr>
        <p:spPr bwMode="black">
          <a:xfrm>
            <a:off x="8105868" y="6377191"/>
            <a:ext cx="3739768" cy="123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noProof="0">
                <a:solidFill>
                  <a:schemeClr val="bg1"/>
                </a:solidFill>
                <a:latin typeface="+mn-lt"/>
              </a:rPr>
              <a:t>Last Modified 11/23/2018 3:04 PM India Standard Time</a:t>
            </a:r>
            <a:endParaRPr lang="en-US" sz="800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 userDrawn="1"/>
        </p:nvSpPr>
        <p:spPr bwMode="black">
          <a:xfrm>
            <a:off x="8105868" y="6500303"/>
            <a:ext cx="354689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800" baseline="0" noProof="0" dirty="0">
                <a:solidFill>
                  <a:schemeClr val="bg1"/>
                </a:solidFill>
                <a:latin typeface="+mn-lt"/>
              </a:rPr>
              <a:t>Printed 23/04/2018 21:25 Romance Standard Time</a:t>
            </a:r>
            <a:endParaRPr lang="en-US" sz="800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 bwMode="gray">
          <a:xfrm>
            <a:off x="3024489" y="1434420"/>
            <a:ext cx="8309252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 hasCustomPrompt="1"/>
          </p:nvPr>
        </p:nvSpPr>
        <p:spPr bwMode="gray">
          <a:xfrm>
            <a:off x="3024489" y="2160374"/>
            <a:ext cx="8309252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800" cap="none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</a:p>
        </p:txBody>
      </p:sp>
      <p:sp>
        <p:nvSpPr>
          <p:cNvPr id="35" name="LogoImage"/>
          <p:cNvSpPr>
            <a:spLocks noEditPoints="1"/>
          </p:cNvSpPr>
          <p:nvPr userDrawn="1"/>
        </p:nvSpPr>
        <p:spPr bwMode="auto">
          <a:xfrm>
            <a:off x="3033376" y="187975"/>
            <a:ext cx="2176978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baseline="0" dirty="0">
              <a:solidFill>
                <a:srgbClr val="000000"/>
              </a:solidFill>
              <a:latin typeface="+mn-lt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F796DB1A-8947-4046-982A-47850E0A1680}"/>
              </a:ext>
            </a:extLst>
          </p:cNvPr>
          <p:cNvGrpSpPr/>
          <p:nvPr userDrawn="1"/>
        </p:nvGrpSpPr>
        <p:grpSpPr>
          <a:xfrm>
            <a:off x="2781424" y="3584143"/>
            <a:ext cx="8552317" cy="3028692"/>
            <a:chOff x="2781424" y="3584143"/>
            <a:chExt cx="8552317" cy="3028692"/>
          </a:xfrm>
        </p:grpSpPr>
        <p:sp>
          <p:nvSpPr>
            <p:cNvPr id="57" name="Document type" hidden="1"/>
            <p:cNvSpPr txBox="1">
              <a:spLocks noChangeArrowheads="1"/>
            </p:cNvSpPr>
            <p:nvPr userDrawn="1"/>
          </p:nvSpPr>
          <p:spPr bwMode="gray">
            <a:xfrm>
              <a:off x="3024489" y="3584143"/>
              <a:ext cx="8309252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0" hangingPunct="1">
                <a:defRPr/>
              </a:pPr>
              <a:r>
                <a:rPr lang="en-US" sz="1400" baseline="0" noProof="0" dirty="0">
                  <a:solidFill>
                    <a:schemeClr val="accent6"/>
                  </a:solidFill>
                  <a:latin typeface="+mn-lt"/>
                </a:rPr>
                <a:t>Document type | Date</a:t>
              </a:r>
            </a:p>
          </p:txBody>
        </p:sp>
        <p:sp>
          <p:nvSpPr>
            <p:cNvPr id="26" name="Disclaimer-English (United States)" hidden="1"/>
            <p:cNvSpPr>
              <a:spLocks noChangeArrowheads="1"/>
            </p:cNvSpPr>
            <p:nvPr userDrawn="1"/>
          </p:nvSpPr>
          <p:spPr bwMode="black">
            <a:xfrm>
              <a:off x="2781424" y="6254080"/>
              <a:ext cx="5120516" cy="3587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t" anchorCtr="0">
              <a:noAutofit/>
            </a:bodyPr>
            <a:lstStyle/>
            <a:p>
              <a:pPr defTabSz="1073204" eaLnBrk="0" hangingPunct="0"/>
              <a:r>
                <a:rPr lang="en-US" sz="800" baseline="0" dirty="0">
                  <a:solidFill>
                    <a:schemeClr val="bg1"/>
                  </a:solidFill>
                  <a:latin typeface="+mn-lt"/>
                </a:rPr>
                <a:t>CONFIDENTIAL AND PROPRIETARY</a:t>
              </a:r>
            </a:p>
            <a:p>
              <a:pPr defTabSz="1073204" eaLnBrk="0" hangingPunct="0"/>
              <a:r>
                <a:rPr lang="en-US" sz="800" baseline="0" dirty="0">
                  <a:solidFill>
                    <a:schemeClr val="bg1"/>
                  </a:solidFill>
                  <a:latin typeface="+mn-lt"/>
                </a:rPr>
                <a:t>Any use of this material without specific permission of McKinsey &amp; Company is strictly prohibited</a:t>
              </a:r>
            </a:p>
          </p:txBody>
        </p:sp>
      </p:grpSp>
      <p:pic>
        <p:nvPicPr>
          <p:cNvPr id="13" name="Picture 12">
            <a:extLst>
              <a:ext uri="{FF2B5EF4-FFF2-40B4-BE49-F238E27FC236}">
                <a16:creationId xmlns:a16="http://schemas.microsoft.com/office/drawing/2014/main" id="{04EC7BA1-6872-43A6-90C1-07740CEE7876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74513" y="4789714"/>
            <a:ext cx="2854535" cy="12308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555295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5451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accent6"/>
                </a:solidFill>
              </a:rPr>
              <a:pPr lvl="0"/>
              <a:t>‹#›</a:t>
            </a:fld>
            <a:endParaRPr lang="en-US" sz="800" dirty="0">
              <a:solidFill>
                <a:schemeClr val="accent6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008499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6475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/>
          <p:cNvSpPr txBox="1">
            <a:spLocks/>
          </p:cNvSpPr>
          <p:nvPr userDrawn="1"/>
        </p:nvSpPr>
        <p:spPr bwMode="black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bg1"/>
                </a:solidFill>
              </a:rPr>
              <a:pPr lvl="0"/>
              <a:t>‹#›</a:t>
            </a:fld>
            <a:endParaRPr lang="en-US" sz="800" dirty="0">
              <a:solidFill>
                <a:schemeClr val="bg1"/>
              </a:solidFill>
            </a:endParaRPr>
          </a:p>
        </p:txBody>
      </p:sp>
      <p:sp>
        <p:nvSpPr>
          <p:cNvPr id="10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bg1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99588170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473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 dirty="0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>
                <a:solidFill>
                  <a:srgbClr val="FFFFFF"/>
                </a:solidFill>
              </a:rPr>
              <a:t>Last Modified 11/23/2018 3:04 PM India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 dirty="0">
                <a:solidFill>
                  <a:srgbClr val="FFFFFF"/>
                </a:solidFill>
              </a:rPr>
              <a:t>Printed 23/04/2018 21:25 Romance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:a16="http://schemas.microsoft.com/office/drawing/2014/main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8220967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5671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:a16="http://schemas.microsoft.com/office/drawing/2014/main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388257613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6695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7385051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7719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:a16="http://schemas.microsoft.com/office/drawing/2014/main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57723069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5675086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1999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400055261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 userDrawn="1">
          <p15:clr>
            <a:srgbClr val="000000"/>
          </p15:clr>
        </p15:guide>
        <p15:guide id="2" orient="horz" pos="570" userDrawn="1">
          <p15:clr>
            <a:srgbClr val="000000"/>
          </p15:clr>
        </p15:guide>
        <p15:guide id="3" orient="horz" pos="3912" userDrawn="1">
          <p15:clr>
            <a:srgbClr val="000000"/>
          </p15:clr>
        </p15:guide>
        <p15:guide id="4" pos="96" userDrawn="1">
          <p15:clr>
            <a:srgbClr val="00000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087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 dirty="0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>
                <a:solidFill>
                  <a:srgbClr val="FFFFFF"/>
                </a:solidFill>
              </a:rPr>
              <a:t>Last Modified 11/23/2018 3:04 PM India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 dirty="0">
                <a:solidFill>
                  <a:srgbClr val="FFFFFF"/>
                </a:solidFill>
              </a:rPr>
              <a:t>Printed 23/04/2018 21:25 Romance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:a16="http://schemas.microsoft.com/office/drawing/2014/main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09443079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5047745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1818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:a16="http://schemas.microsoft.com/office/drawing/2014/main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405976343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2836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76108166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3860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:a16="http://schemas.microsoft.com/office/drawing/2014/main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416447958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597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 dirty="0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>
                <a:solidFill>
                  <a:srgbClr val="FFFFFF"/>
                </a:solidFill>
              </a:rPr>
              <a:t>Last Modified 11/23/2018 3:04 PM India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 dirty="0">
                <a:solidFill>
                  <a:srgbClr val="FFFFFF"/>
                </a:solidFill>
              </a:rPr>
              <a:t>Printed 23/04/2018 21:25 Romance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:a16="http://schemas.microsoft.com/office/drawing/2014/main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75648208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2762915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6956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:a16="http://schemas.microsoft.com/office/drawing/2014/main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181443436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7980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62017228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004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:a16="http://schemas.microsoft.com/office/drawing/2014/main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1972878421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11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 dirty="0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>
                <a:solidFill>
                  <a:srgbClr val="FFFFFF"/>
                </a:solidFill>
              </a:rPr>
              <a:t>Last Modified 11/23/2018 3:04 PM India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 dirty="0">
                <a:solidFill>
                  <a:srgbClr val="FFFFFF"/>
                </a:solidFill>
              </a:rPr>
              <a:t>Printed 23/04/2018 21:25 Romance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:a16="http://schemas.microsoft.com/office/drawing/2014/main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381838965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896112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3100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:a16="http://schemas.microsoft.com/office/drawing/2014/main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394915922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8746094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4794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:a16="http://schemas.microsoft.com/office/drawing/2014/main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1037621344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4123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421580580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5147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:a16="http://schemas.microsoft.com/office/drawing/2014/main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880120786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826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 dirty="0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>
                <a:solidFill>
                  <a:srgbClr val="FFFFFF"/>
                </a:solidFill>
              </a:rPr>
              <a:t>Last Modified 11/23/2018 3:04 PM India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 dirty="0">
                <a:solidFill>
                  <a:srgbClr val="FFFFFF"/>
                </a:solidFill>
              </a:rPr>
              <a:t>Printed 23/04/2018 21:25 Romance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:a16="http://schemas.microsoft.com/office/drawing/2014/main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924993535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8318675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243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:a16="http://schemas.microsoft.com/office/drawing/2014/main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400984392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266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46650077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1290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:a16="http://schemas.microsoft.com/office/drawing/2014/main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389320416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440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 dirty="0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>
                <a:solidFill>
                  <a:srgbClr val="FFFFFF"/>
                </a:solidFill>
              </a:rPr>
              <a:t>Last Modified 11/23/2018 3:04 PM India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 dirty="0">
                <a:solidFill>
                  <a:srgbClr val="FFFFFF"/>
                </a:solidFill>
              </a:rPr>
              <a:t>Printed 23/04/2018 21:25 Romance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:a16="http://schemas.microsoft.com/office/drawing/2014/main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1425545557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5383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:a16="http://schemas.microsoft.com/office/drawing/2014/main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142873070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6407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99892673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7431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:a16="http://schemas.microsoft.com/office/drawing/2014/main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7688692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362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>
            <a:extLst>
              <a:ext uri="{FF2B5EF4-FFF2-40B4-BE49-F238E27FC236}">
                <a16:creationId xmlns:a16="http://schemas.microsoft.com/office/drawing/2014/main" id="{CA9A3303-D266-4F48-B4F1-412079AA6761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" y="1589"/>
            <a:ext cx="11942925" cy="6719886"/>
          </a:xfrm>
          <a:prstGeom prst="rect">
            <a:avLst/>
          </a:prstGeom>
        </p:spPr>
      </p:pic>
      <p:sp>
        <p:nvSpPr>
          <p:cNvPr id="37" name="TitleRectangle"/>
          <p:cNvSpPr>
            <a:spLocks/>
          </p:cNvSpPr>
          <p:nvPr userDrawn="1"/>
        </p:nvSpPr>
        <p:spPr bwMode="white">
          <a:xfrm>
            <a:off x="2779713" y="-1"/>
            <a:ext cx="9169400" cy="3967882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4" name="Working Draft Text"/>
          <p:cNvSpPr txBox="1">
            <a:spLocks noChangeArrowheads="1"/>
          </p:cNvSpPr>
          <p:nvPr userDrawn="1"/>
        </p:nvSpPr>
        <p:spPr bwMode="black">
          <a:xfrm>
            <a:off x="8105867" y="6254080"/>
            <a:ext cx="88255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="1" baseline="0" noProof="0" dirty="0">
                <a:solidFill>
                  <a:schemeClr val="bg1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 userDrawn="1"/>
        </p:nvSpPr>
        <p:spPr bwMode="black">
          <a:xfrm>
            <a:off x="8105868" y="6377191"/>
            <a:ext cx="3739768" cy="123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noProof="0">
                <a:solidFill>
                  <a:schemeClr val="bg1"/>
                </a:solidFill>
                <a:latin typeface="+mn-lt"/>
              </a:rPr>
              <a:t>Last Modified 11/23/2018 3:04 PM India Standard Time</a:t>
            </a:r>
            <a:endParaRPr lang="en-US" sz="800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 userDrawn="1"/>
        </p:nvSpPr>
        <p:spPr bwMode="black">
          <a:xfrm>
            <a:off x="8105868" y="6500303"/>
            <a:ext cx="354689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800" baseline="0" noProof="0" dirty="0">
                <a:solidFill>
                  <a:schemeClr val="bg1"/>
                </a:solidFill>
                <a:latin typeface="+mn-lt"/>
              </a:rPr>
              <a:t>Printed 23/04/2018 21:25 Romance Standard Time</a:t>
            </a:r>
            <a:endParaRPr lang="en-US" sz="800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 bwMode="gray">
          <a:xfrm>
            <a:off x="3024489" y="1434420"/>
            <a:ext cx="8309252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 hasCustomPrompt="1"/>
          </p:nvPr>
        </p:nvSpPr>
        <p:spPr bwMode="gray">
          <a:xfrm>
            <a:off x="3024489" y="2160374"/>
            <a:ext cx="8309252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800" cap="none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</a:p>
        </p:txBody>
      </p:sp>
      <p:sp>
        <p:nvSpPr>
          <p:cNvPr id="35" name="LogoImage"/>
          <p:cNvSpPr>
            <a:spLocks noEditPoints="1"/>
          </p:cNvSpPr>
          <p:nvPr userDrawn="1"/>
        </p:nvSpPr>
        <p:spPr bwMode="auto">
          <a:xfrm>
            <a:off x="3033376" y="187975"/>
            <a:ext cx="2176978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baseline="0" dirty="0">
              <a:solidFill>
                <a:srgbClr val="000000"/>
              </a:solidFill>
              <a:latin typeface="+mn-lt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F796DB1A-8947-4046-982A-47850E0A1680}"/>
              </a:ext>
            </a:extLst>
          </p:cNvPr>
          <p:cNvGrpSpPr/>
          <p:nvPr userDrawn="1"/>
        </p:nvGrpSpPr>
        <p:grpSpPr>
          <a:xfrm>
            <a:off x="2781424" y="3584143"/>
            <a:ext cx="8552317" cy="3028692"/>
            <a:chOff x="2781424" y="3584143"/>
            <a:chExt cx="8552317" cy="3028692"/>
          </a:xfrm>
        </p:grpSpPr>
        <p:sp>
          <p:nvSpPr>
            <p:cNvPr id="57" name="Document type" hidden="1"/>
            <p:cNvSpPr txBox="1">
              <a:spLocks noChangeArrowheads="1"/>
            </p:cNvSpPr>
            <p:nvPr userDrawn="1"/>
          </p:nvSpPr>
          <p:spPr bwMode="gray">
            <a:xfrm>
              <a:off x="3024489" y="3584143"/>
              <a:ext cx="8309252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0" hangingPunct="1">
                <a:defRPr/>
              </a:pPr>
              <a:r>
                <a:rPr lang="en-US" sz="1400" baseline="0" noProof="0" dirty="0">
                  <a:solidFill>
                    <a:schemeClr val="accent6"/>
                  </a:solidFill>
                  <a:latin typeface="+mn-lt"/>
                </a:rPr>
                <a:t>Document type | Date</a:t>
              </a:r>
            </a:p>
          </p:txBody>
        </p:sp>
        <p:sp>
          <p:nvSpPr>
            <p:cNvPr id="26" name="Disclaimer-English (United States)" hidden="1"/>
            <p:cNvSpPr>
              <a:spLocks noChangeArrowheads="1"/>
            </p:cNvSpPr>
            <p:nvPr userDrawn="1"/>
          </p:nvSpPr>
          <p:spPr bwMode="black">
            <a:xfrm>
              <a:off x="2781424" y="6254080"/>
              <a:ext cx="5120516" cy="3587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t" anchorCtr="0">
              <a:noAutofit/>
            </a:bodyPr>
            <a:lstStyle/>
            <a:p>
              <a:pPr defTabSz="1073204" eaLnBrk="0" hangingPunct="0"/>
              <a:r>
                <a:rPr lang="en-US" sz="800" baseline="0" dirty="0">
                  <a:solidFill>
                    <a:schemeClr val="bg1"/>
                  </a:solidFill>
                  <a:latin typeface="+mn-lt"/>
                </a:rPr>
                <a:t>CONFIDENTIAL AND PROPRIETARY</a:t>
              </a:r>
            </a:p>
            <a:p>
              <a:pPr defTabSz="1073204" eaLnBrk="0" hangingPunct="0"/>
              <a:r>
                <a:rPr lang="en-US" sz="800" baseline="0" dirty="0">
                  <a:solidFill>
                    <a:schemeClr val="bg1"/>
                  </a:solidFill>
                  <a:latin typeface="+mn-lt"/>
                </a:rPr>
                <a:t>Any use of this material without specific permission of McKinsey &amp; Company is strictly prohibited</a:t>
              </a:r>
            </a:p>
          </p:txBody>
        </p:sp>
      </p:grpSp>
      <p:pic>
        <p:nvPicPr>
          <p:cNvPr id="13" name="Picture 12">
            <a:extLst>
              <a:ext uri="{FF2B5EF4-FFF2-40B4-BE49-F238E27FC236}">
                <a16:creationId xmlns:a16="http://schemas.microsoft.com/office/drawing/2014/main" id="{04EC7BA1-6872-43A6-90C1-07740CEE7876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74513" y="4789714"/>
            <a:ext cx="2854535" cy="12308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5133239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461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 dirty="0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>
                <a:solidFill>
                  <a:srgbClr val="FFFFFF"/>
                </a:solidFill>
              </a:rPr>
              <a:t>Last Modified 11/23/2018 3:04 PM India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 dirty="0">
                <a:solidFill>
                  <a:srgbClr val="FFFFFF"/>
                </a:solidFill>
              </a:rPr>
              <a:t>Printed 23/04/2018 21:25 Romance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:a16="http://schemas.microsoft.com/office/drawing/2014/main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4045775495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5602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:a16="http://schemas.microsoft.com/office/drawing/2014/main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09351935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6626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410330113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7650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:a16="http://schemas.microsoft.com/office/drawing/2014/main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722670726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280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 dirty="0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>
                <a:solidFill>
                  <a:srgbClr val="FFFFFF"/>
                </a:solidFill>
              </a:rPr>
              <a:t>Last Modified 11/23/2018 3:04 PM India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 dirty="0">
                <a:solidFill>
                  <a:srgbClr val="FFFFFF"/>
                </a:solidFill>
              </a:rPr>
              <a:t>Printed 23/04/2018 21:25 Romance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:a16="http://schemas.microsoft.com/office/drawing/2014/main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3991226571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3792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:a16="http://schemas.microsoft.com/office/drawing/2014/main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90277615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4816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81400016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5840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:a16="http://schemas.microsoft.com/office/drawing/2014/main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3824695832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706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 dirty="0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>
                <a:solidFill>
                  <a:srgbClr val="FFFFFF"/>
                </a:solidFill>
              </a:rPr>
              <a:t>Last Modified 11/23/2018 3:04 PM India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 dirty="0">
                <a:solidFill>
                  <a:srgbClr val="FFFFFF"/>
                </a:solidFill>
              </a:rPr>
              <a:t>Printed 23/04/2018 21:25 Romance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:a16="http://schemas.microsoft.com/office/drawing/2014/main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196591809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8063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:a16="http://schemas.microsoft.com/office/drawing/2014/main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426192760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244596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4550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accent6"/>
                </a:solidFill>
              </a:rPr>
              <a:pPr lvl="0"/>
              <a:t>‹#›</a:t>
            </a:fld>
            <a:endParaRPr lang="en-US" sz="800" dirty="0">
              <a:solidFill>
                <a:schemeClr val="accent6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561296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9087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53505134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0111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:a16="http://schemas.microsoft.com/office/drawing/2014/main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1571919829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218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 dirty="0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>
                <a:solidFill>
                  <a:srgbClr val="FFFFFF"/>
                </a:solidFill>
              </a:rPr>
              <a:t>Last Modified 11/23/2018 3:04 PM India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 dirty="0">
                <a:solidFill>
                  <a:srgbClr val="FFFFFF"/>
                </a:solidFill>
              </a:rPr>
              <a:t>Printed 23/04/2018 21:25 Romance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:a16="http://schemas.microsoft.com/office/drawing/2014/main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1655323033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3183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:a16="http://schemas.microsoft.com/office/drawing/2014/main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93890515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4207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08627705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5231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:a16="http://schemas.microsoft.com/office/drawing/2014/main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308141495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854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 dirty="0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>
                <a:solidFill>
                  <a:srgbClr val="FFFFFF"/>
                </a:solidFill>
              </a:rPr>
              <a:t>Last Modified 11/23/2018 3:04 PM India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 dirty="0">
                <a:solidFill>
                  <a:srgbClr val="FFFFFF"/>
                </a:solidFill>
              </a:rPr>
              <a:t>Printed 23/04/2018 21:25 Romance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:a16="http://schemas.microsoft.com/office/drawing/2014/main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243969023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9037566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9556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:a16="http://schemas.microsoft.com/office/drawing/2014/main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8F4190F4-4F1F-4413-A569-3F1E9E8CC46F}"/>
              </a:ext>
            </a:extLst>
          </p:cNvPr>
          <p:cNvSpPr txBox="1">
            <a:spLocks/>
          </p:cNvSpPr>
          <p:nvPr userDrawn="1"/>
        </p:nvSpPr>
        <p:spPr bwMode="auto">
          <a:xfrm>
            <a:off x="11395711" y="6509464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38492630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0578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59354408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874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 dirty="0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>
                <a:solidFill>
                  <a:srgbClr val="FFFFFF"/>
                </a:solidFill>
              </a:rPr>
              <a:t>Last Modified 11/23/2018 3:04 PM India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 dirty="0">
                <a:solidFill>
                  <a:srgbClr val="FFFFFF"/>
                </a:solidFill>
              </a:rPr>
              <a:t>Printed 23/04/2018 21:25 Romance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:a16="http://schemas.microsoft.com/office/drawing/2014/main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78443517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5574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/>
          <p:cNvSpPr txBox="1">
            <a:spLocks/>
          </p:cNvSpPr>
          <p:nvPr userDrawn="1"/>
        </p:nvSpPr>
        <p:spPr bwMode="black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bg1"/>
                </a:solidFill>
              </a:rPr>
              <a:pPr lvl="0"/>
              <a:t>‹#›</a:t>
            </a:fld>
            <a:endParaRPr lang="en-US" sz="800" dirty="0">
              <a:solidFill>
                <a:schemeClr val="bg1"/>
              </a:solidFill>
            </a:endParaRPr>
          </a:p>
        </p:txBody>
      </p:sp>
      <p:sp>
        <p:nvSpPr>
          <p:cNvPr id="10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bg1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6267609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9759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:a16="http://schemas.microsoft.com/office/drawing/2014/main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405969363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0783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26626923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807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:a16="http://schemas.microsoft.com/office/drawing/2014/main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08898767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ackground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49"/>
            <a:ext cx="11949204" cy="6721426"/>
          </a:xfrm>
          <a:prstGeom prst="rect">
            <a:avLst/>
          </a:prstGeom>
        </p:spPr>
      </p:pic>
      <p:sp>
        <p:nvSpPr>
          <p:cNvPr id="37" name="TitleRectangle"/>
          <p:cNvSpPr>
            <a:spLocks/>
          </p:cNvSpPr>
          <p:nvPr userDrawn="1"/>
        </p:nvSpPr>
        <p:spPr bwMode="white">
          <a:xfrm>
            <a:off x="2779713" y="-1"/>
            <a:ext cx="9169400" cy="3967882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US" baseline="0" dirty="0">
              <a:solidFill>
                <a:schemeClr val="tx1"/>
              </a:solidFill>
              <a:latin typeface="+mn-lt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385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black">
          <a:xfrm>
            <a:off x="8105867" y="6254080"/>
            <a:ext cx="88255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="1" baseline="0" noProof="0" dirty="0">
                <a:solidFill>
                  <a:schemeClr val="bg1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black">
          <a:xfrm>
            <a:off x="8105868" y="6377191"/>
            <a:ext cx="3739768" cy="123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noProof="0">
                <a:solidFill>
                  <a:schemeClr val="bg1"/>
                </a:solidFill>
                <a:latin typeface="+mn-lt"/>
              </a:rPr>
              <a:t>Last Modified 11/23/2018 3:04 PM India Standard Time</a:t>
            </a:r>
            <a:endParaRPr lang="en-US" sz="800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black">
          <a:xfrm>
            <a:off x="8105868" y="6500303"/>
            <a:ext cx="354689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800" baseline="0" noProof="0" dirty="0">
                <a:solidFill>
                  <a:schemeClr val="bg1"/>
                </a:solidFill>
                <a:latin typeface="+mn-lt"/>
              </a:rPr>
              <a:t>Printed 23/04/2018 21:25 Romance Standard Time</a:t>
            </a:r>
            <a:endParaRPr lang="en-US" sz="800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 bwMode="gray">
          <a:xfrm>
            <a:off x="3024489" y="1434420"/>
            <a:ext cx="8309252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dirty="0"/>
              <a:t>Click to edit Master title style</a:t>
            </a:r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 bwMode="gray">
          <a:xfrm>
            <a:off x="3024489" y="3119079"/>
            <a:ext cx="8309252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</a:p>
        </p:txBody>
      </p:sp>
      <p:sp>
        <p:nvSpPr>
          <p:cNvPr id="35" name="LogoImage"/>
          <p:cNvSpPr>
            <a:spLocks noEditPoints="1"/>
          </p:cNvSpPr>
          <p:nvPr userDrawn="1"/>
        </p:nvSpPr>
        <p:spPr bwMode="auto">
          <a:xfrm>
            <a:off x="3033376" y="187975"/>
            <a:ext cx="2176978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eaLnBrk="1"/>
            <a:endParaRPr lang="en-US" baseline="0" dirty="0">
              <a:solidFill>
                <a:srgbClr val="000000"/>
              </a:solidFill>
              <a:latin typeface="+mn-lt"/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6E353F0F-0D7E-485D-8B3C-F2F28EFDDA40}"/>
              </a:ext>
            </a:extLst>
          </p:cNvPr>
          <p:cNvGrpSpPr/>
          <p:nvPr userDrawn="1"/>
        </p:nvGrpSpPr>
        <p:grpSpPr>
          <a:xfrm>
            <a:off x="2781424" y="3584143"/>
            <a:ext cx="8552317" cy="3028692"/>
            <a:chOff x="2781424" y="3584143"/>
            <a:chExt cx="8552317" cy="3028692"/>
          </a:xfrm>
        </p:grpSpPr>
        <p:sp>
          <p:nvSpPr>
            <p:cNvPr id="57" name="Document type" hidden="1"/>
            <p:cNvSpPr txBox="1">
              <a:spLocks noChangeArrowheads="1"/>
            </p:cNvSpPr>
            <p:nvPr userDrawn="1"/>
          </p:nvSpPr>
          <p:spPr bwMode="gray">
            <a:xfrm>
              <a:off x="3024489" y="3584143"/>
              <a:ext cx="8309252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0" hangingPunct="1">
                <a:defRPr/>
              </a:pPr>
              <a:r>
                <a:rPr lang="en-US" sz="1400" baseline="0" noProof="0" dirty="0">
                  <a:solidFill>
                    <a:schemeClr val="accent6"/>
                  </a:solidFill>
                  <a:latin typeface="+mn-lt"/>
                </a:rPr>
                <a:t>Document type | Date</a:t>
              </a:r>
            </a:p>
          </p:txBody>
        </p:sp>
        <p:sp>
          <p:nvSpPr>
            <p:cNvPr id="26" name="Disclaimer-English (United States)" hidden="1"/>
            <p:cNvSpPr>
              <a:spLocks noChangeArrowheads="1"/>
            </p:cNvSpPr>
            <p:nvPr userDrawn="1"/>
          </p:nvSpPr>
          <p:spPr bwMode="black">
            <a:xfrm>
              <a:off x="2781424" y="6254080"/>
              <a:ext cx="5120516" cy="3587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t" anchorCtr="0">
              <a:noAutofit/>
            </a:bodyPr>
            <a:lstStyle/>
            <a:p>
              <a:pPr defTabSz="1073204" eaLnBrk="0" hangingPunct="0"/>
              <a:r>
                <a:rPr lang="en-US" sz="800" baseline="0" dirty="0">
                  <a:solidFill>
                    <a:schemeClr val="bg1"/>
                  </a:solidFill>
                  <a:latin typeface="+mn-lt"/>
                </a:rPr>
                <a:t>CONFIDENTIAL AND PROPRIETARY</a:t>
              </a:r>
            </a:p>
            <a:p>
              <a:pPr defTabSz="1073204" eaLnBrk="0" hangingPunct="0"/>
              <a:r>
                <a:rPr lang="en-US" sz="800" baseline="0" dirty="0">
                  <a:solidFill>
                    <a:schemeClr val="bg1"/>
                  </a:solidFill>
                  <a:latin typeface="+mn-lt"/>
                </a:rPr>
                <a:t>Any use of this material without specific permission of McKinsey &amp; Company is strictly prohibite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91973915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B14A227-CD36-494A-A575-B6306C0482C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4779" name="think-cell Slide" r:id="rId5" imgW="524" imgH="526" progId="TCLayout.ActiveDocument.1">
                  <p:embed/>
                </p:oleObj>
              </mc:Choice>
              <mc:Fallback>
                <p:oleObj name="think-cell Slide" r:id="rId5" imgW="524" imgH="5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B14A227-CD36-494A-A575-B6306C0482C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accent6"/>
                </a:solidFill>
              </a:rPr>
              <a:pPr lvl="0"/>
              <a:t>‹#›</a:t>
            </a:fld>
            <a:endParaRPr lang="en-US" sz="800" dirty="0">
              <a:solidFill>
                <a:schemeClr val="accent6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 eaLnBrk="1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38488899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3.xml"/><Relationship Id="rId13" Type="http://schemas.openxmlformats.org/officeDocument/2006/relationships/tags" Target="../tags/tag8.xml"/><Relationship Id="rId18" Type="http://schemas.openxmlformats.org/officeDocument/2006/relationships/tags" Target="../tags/tag13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16.xml"/><Relationship Id="rId7" Type="http://schemas.openxmlformats.org/officeDocument/2006/relationships/tags" Target="../tags/tag2.xml"/><Relationship Id="rId12" Type="http://schemas.openxmlformats.org/officeDocument/2006/relationships/tags" Target="../tags/tag7.xml"/><Relationship Id="rId17" Type="http://schemas.openxmlformats.org/officeDocument/2006/relationships/tags" Target="../tags/tag12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1.xml"/><Relationship Id="rId20" Type="http://schemas.openxmlformats.org/officeDocument/2006/relationships/tags" Target="../tags/tag15.xml"/><Relationship Id="rId1" Type="http://schemas.openxmlformats.org/officeDocument/2006/relationships/slideLayout" Target="../slideLayouts/slideLayout1.xml"/><Relationship Id="rId6" Type="http://schemas.openxmlformats.org/officeDocument/2006/relationships/vmlDrawing" Target="../drawings/vmlDrawing1.vml"/><Relationship Id="rId11" Type="http://schemas.openxmlformats.org/officeDocument/2006/relationships/tags" Target="../tags/tag6.xml"/><Relationship Id="rId24" Type="http://schemas.openxmlformats.org/officeDocument/2006/relationships/oleObject" Target="../embeddings/oleObject1.bin"/><Relationship Id="rId5" Type="http://schemas.openxmlformats.org/officeDocument/2006/relationships/theme" Target="../theme/theme1.xml"/><Relationship Id="rId15" Type="http://schemas.openxmlformats.org/officeDocument/2006/relationships/tags" Target="../tags/tag10.xml"/><Relationship Id="rId23" Type="http://schemas.openxmlformats.org/officeDocument/2006/relationships/tags" Target="../tags/tag18.xml"/><Relationship Id="rId10" Type="http://schemas.openxmlformats.org/officeDocument/2006/relationships/tags" Target="../tags/tag5.xml"/><Relationship Id="rId19" Type="http://schemas.openxmlformats.org/officeDocument/2006/relationships/tags" Target="../tags/tag14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4.xml"/><Relationship Id="rId14" Type="http://schemas.openxmlformats.org/officeDocument/2006/relationships/tags" Target="../tags/tag9.xml"/><Relationship Id="rId22" Type="http://schemas.openxmlformats.org/officeDocument/2006/relationships/tags" Target="../tags/tag17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tags" Target="../tags/tag197.xml"/><Relationship Id="rId13" Type="http://schemas.openxmlformats.org/officeDocument/2006/relationships/tags" Target="../tags/tag202.xml"/><Relationship Id="rId18" Type="http://schemas.openxmlformats.org/officeDocument/2006/relationships/tags" Target="../tags/tag207.xml"/><Relationship Id="rId3" Type="http://schemas.openxmlformats.org/officeDocument/2006/relationships/slideLayout" Target="../slideLayouts/slideLayout36.xml"/><Relationship Id="rId21" Type="http://schemas.openxmlformats.org/officeDocument/2006/relationships/tags" Target="../tags/tag210.xml"/><Relationship Id="rId7" Type="http://schemas.openxmlformats.org/officeDocument/2006/relationships/tags" Target="../tags/tag196.xml"/><Relationship Id="rId12" Type="http://schemas.openxmlformats.org/officeDocument/2006/relationships/tags" Target="../tags/tag201.xml"/><Relationship Id="rId17" Type="http://schemas.openxmlformats.org/officeDocument/2006/relationships/tags" Target="../tags/tag206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35.xml"/><Relationship Id="rId16" Type="http://schemas.openxmlformats.org/officeDocument/2006/relationships/tags" Target="../tags/tag205.xml"/><Relationship Id="rId20" Type="http://schemas.openxmlformats.org/officeDocument/2006/relationships/tags" Target="../tags/tag209.xml"/><Relationship Id="rId1" Type="http://schemas.openxmlformats.org/officeDocument/2006/relationships/slideLayout" Target="../slideLayouts/slideLayout34.xml"/><Relationship Id="rId6" Type="http://schemas.openxmlformats.org/officeDocument/2006/relationships/vmlDrawing" Target="../drawings/vmlDrawing43.vml"/><Relationship Id="rId11" Type="http://schemas.openxmlformats.org/officeDocument/2006/relationships/tags" Target="../tags/tag200.xml"/><Relationship Id="rId24" Type="http://schemas.openxmlformats.org/officeDocument/2006/relationships/oleObject" Target="../embeddings/oleObject43.bin"/><Relationship Id="rId5" Type="http://schemas.openxmlformats.org/officeDocument/2006/relationships/theme" Target="../theme/theme10.xml"/><Relationship Id="rId15" Type="http://schemas.openxmlformats.org/officeDocument/2006/relationships/tags" Target="../tags/tag204.xml"/><Relationship Id="rId23" Type="http://schemas.openxmlformats.org/officeDocument/2006/relationships/tags" Target="../tags/tag212.xml"/><Relationship Id="rId10" Type="http://schemas.openxmlformats.org/officeDocument/2006/relationships/tags" Target="../tags/tag199.xml"/><Relationship Id="rId19" Type="http://schemas.openxmlformats.org/officeDocument/2006/relationships/tags" Target="../tags/tag208.xml"/><Relationship Id="rId4" Type="http://schemas.openxmlformats.org/officeDocument/2006/relationships/slideLayout" Target="../slideLayouts/slideLayout37.xml"/><Relationship Id="rId9" Type="http://schemas.openxmlformats.org/officeDocument/2006/relationships/tags" Target="../tags/tag198.xml"/><Relationship Id="rId14" Type="http://schemas.openxmlformats.org/officeDocument/2006/relationships/tags" Target="../tags/tag203.xml"/><Relationship Id="rId22" Type="http://schemas.openxmlformats.org/officeDocument/2006/relationships/tags" Target="../tags/tag211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tags" Target="../tags/tag218.xml"/><Relationship Id="rId13" Type="http://schemas.openxmlformats.org/officeDocument/2006/relationships/tags" Target="../tags/tag223.xml"/><Relationship Id="rId18" Type="http://schemas.openxmlformats.org/officeDocument/2006/relationships/tags" Target="../tags/tag228.xml"/><Relationship Id="rId3" Type="http://schemas.openxmlformats.org/officeDocument/2006/relationships/slideLayout" Target="../slideLayouts/slideLayout40.xml"/><Relationship Id="rId21" Type="http://schemas.openxmlformats.org/officeDocument/2006/relationships/tags" Target="../tags/tag231.xml"/><Relationship Id="rId7" Type="http://schemas.openxmlformats.org/officeDocument/2006/relationships/tags" Target="../tags/tag217.xml"/><Relationship Id="rId12" Type="http://schemas.openxmlformats.org/officeDocument/2006/relationships/tags" Target="../tags/tag222.xml"/><Relationship Id="rId17" Type="http://schemas.openxmlformats.org/officeDocument/2006/relationships/tags" Target="../tags/tag227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39.xml"/><Relationship Id="rId16" Type="http://schemas.openxmlformats.org/officeDocument/2006/relationships/tags" Target="../tags/tag226.xml"/><Relationship Id="rId20" Type="http://schemas.openxmlformats.org/officeDocument/2006/relationships/tags" Target="../tags/tag230.xml"/><Relationship Id="rId1" Type="http://schemas.openxmlformats.org/officeDocument/2006/relationships/slideLayout" Target="../slideLayouts/slideLayout38.xml"/><Relationship Id="rId6" Type="http://schemas.openxmlformats.org/officeDocument/2006/relationships/vmlDrawing" Target="../drawings/vmlDrawing48.vml"/><Relationship Id="rId11" Type="http://schemas.openxmlformats.org/officeDocument/2006/relationships/tags" Target="../tags/tag221.xml"/><Relationship Id="rId24" Type="http://schemas.openxmlformats.org/officeDocument/2006/relationships/oleObject" Target="../embeddings/oleObject48.bin"/><Relationship Id="rId5" Type="http://schemas.openxmlformats.org/officeDocument/2006/relationships/theme" Target="../theme/theme11.xml"/><Relationship Id="rId15" Type="http://schemas.openxmlformats.org/officeDocument/2006/relationships/tags" Target="../tags/tag225.xml"/><Relationship Id="rId23" Type="http://schemas.openxmlformats.org/officeDocument/2006/relationships/tags" Target="../tags/tag233.xml"/><Relationship Id="rId10" Type="http://schemas.openxmlformats.org/officeDocument/2006/relationships/tags" Target="../tags/tag220.xml"/><Relationship Id="rId19" Type="http://schemas.openxmlformats.org/officeDocument/2006/relationships/tags" Target="../tags/tag229.xml"/><Relationship Id="rId4" Type="http://schemas.openxmlformats.org/officeDocument/2006/relationships/slideLayout" Target="../slideLayouts/slideLayout41.xml"/><Relationship Id="rId9" Type="http://schemas.openxmlformats.org/officeDocument/2006/relationships/tags" Target="../tags/tag219.xml"/><Relationship Id="rId14" Type="http://schemas.openxmlformats.org/officeDocument/2006/relationships/tags" Target="../tags/tag224.xml"/><Relationship Id="rId22" Type="http://schemas.openxmlformats.org/officeDocument/2006/relationships/tags" Target="../tags/tag232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tags" Target="../tags/tag239.xml"/><Relationship Id="rId13" Type="http://schemas.openxmlformats.org/officeDocument/2006/relationships/tags" Target="../tags/tag244.xml"/><Relationship Id="rId18" Type="http://schemas.openxmlformats.org/officeDocument/2006/relationships/tags" Target="../tags/tag249.xml"/><Relationship Id="rId3" Type="http://schemas.openxmlformats.org/officeDocument/2006/relationships/slideLayout" Target="../slideLayouts/slideLayout44.xml"/><Relationship Id="rId21" Type="http://schemas.openxmlformats.org/officeDocument/2006/relationships/tags" Target="../tags/tag252.xml"/><Relationship Id="rId7" Type="http://schemas.openxmlformats.org/officeDocument/2006/relationships/tags" Target="../tags/tag238.xml"/><Relationship Id="rId12" Type="http://schemas.openxmlformats.org/officeDocument/2006/relationships/tags" Target="../tags/tag243.xml"/><Relationship Id="rId17" Type="http://schemas.openxmlformats.org/officeDocument/2006/relationships/tags" Target="../tags/tag248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43.xml"/><Relationship Id="rId16" Type="http://schemas.openxmlformats.org/officeDocument/2006/relationships/tags" Target="../tags/tag247.xml"/><Relationship Id="rId20" Type="http://schemas.openxmlformats.org/officeDocument/2006/relationships/tags" Target="../tags/tag251.xml"/><Relationship Id="rId1" Type="http://schemas.openxmlformats.org/officeDocument/2006/relationships/slideLayout" Target="../slideLayouts/slideLayout42.xml"/><Relationship Id="rId6" Type="http://schemas.openxmlformats.org/officeDocument/2006/relationships/vmlDrawing" Target="../drawings/vmlDrawing53.vml"/><Relationship Id="rId11" Type="http://schemas.openxmlformats.org/officeDocument/2006/relationships/tags" Target="../tags/tag242.xml"/><Relationship Id="rId24" Type="http://schemas.openxmlformats.org/officeDocument/2006/relationships/oleObject" Target="../embeddings/oleObject53.bin"/><Relationship Id="rId5" Type="http://schemas.openxmlformats.org/officeDocument/2006/relationships/theme" Target="../theme/theme12.xml"/><Relationship Id="rId15" Type="http://schemas.openxmlformats.org/officeDocument/2006/relationships/tags" Target="../tags/tag246.xml"/><Relationship Id="rId23" Type="http://schemas.openxmlformats.org/officeDocument/2006/relationships/tags" Target="../tags/tag254.xml"/><Relationship Id="rId10" Type="http://schemas.openxmlformats.org/officeDocument/2006/relationships/tags" Target="../tags/tag241.xml"/><Relationship Id="rId19" Type="http://schemas.openxmlformats.org/officeDocument/2006/relationships/tags" Target="../tags/tag250.xml"/><Relationship Id="rId4" Type="http://schemas.openxmlformats.org/officeDocument/2006/relationships/slideLayout" Target="../slideLayouts/slideLayout45.xml"/><Relationship Id="rId9" Type="http://schemas.openxmlformats.org/officeDocument/2006/relationships/tags" Target="../tags/tag240.xml"/><Relationship Id="rId14" Type="http://schemas.openxmlformats.org/officeDocument/2006/relationships/tags" Target="../tags/tag245.xml"/><Relationship Id="rId22" Type="http://schemas.openxmlformats.org/officeDocument/2006/relationships/tags" Target="../tags/tag253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tags" Target="../tags/tag260.xml"/><Relationship Id="rId13" Type="http://schemas.openxmlformats.org/officeDocument/2006/relationships/tags" Target="../tags/tag265.xml"/><Relationship Id="rId18" Type="http://schemas.openxmlformats.org/officeDocument/2006/relationships/tags" Target="../tags/tag270.xml"/><Relationship Id="rId3" Type="http://schemas.openxmlformats.org/officeDocument/2006/relationships/slideLayout" Target="../slideLayouts/slideLayout48.xml"/><Relationship Id="rId21" Type="http://schemas.openxmlformats.org/officeDocument/2006/relationships/tags" Target="../tags/tag273.xml"/><Relationship Id="rId7" Type="http://schemas.openxmlformats.org/officeDocument/2006/relationships/tags" Target="../tags/tag259.xml"/><Relationship Id="rId12" Type="http://schemas.openxmlformats.org/officeDocument/2006/relationships/tags" Target="../tags/tag264.xml"/><Relationship Id="rId17" Type="http://schemas.openxmlformats.org/officeDocument/2006/relationships/tags" Target="../tags/tag269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47.xml"/><Relationship Id="rId16" Type="http://schemas.openxmlformats.org/officeDocument/2006/relationships/tags" Target="../tags/tag268.xml"/><Relationship Id="rId20" Type="http://schemas.openxmlformats.org/officeDocument/2006/relationships/tags" Target="../tags/tag272.xml"/><Relationship Id="rId1" Type="http://schemas.openxmlformats.org/officeDocument/2006/relationships/slideLayout" Target="../slideLayouts/slideLayout46.xml"/><Relationship Id="rId6" Type="http://schemas.openxmlformats.org/officeDocument/2006/relationships/vmlDrawing" Target="../drawings/vmlDrawing58.vml"/><Relationship Id="rId11" Type="http://schemas.openxmlformats.org/officeDocument/2006/relationships/tags" Target="../tags/tag263.xml"/><Relationship Id="rId24" Type="http://schemas.openxmlformats.org/officeDocument/2006/relationships/oleObject" Target="../embeddings/oleObject58.bin"/><Relationship Id="rId5" Type="http://schemas.openxmlformats.org/officeDocument/2006/relationships/theme" Target="../theme/theme13.xml"/><Relationship Id="rId15" Type="http://schemas.openxmlformats.org/officeDocument/2006/relationships/tags" Target="../tags/tag267.xml"/><Relationship Id="rId23" Type="http://schemas.openxmlformats.org/officeDocument/2006/relationships/tags" Target="../tags/tag275.xml"/><Relationship Id="rId10" Type="http://schemas.openxmlformats.org/officeDocument/2006/relationships/tags" Target="../tags/tag262.xml"/><Relationship Id="rId19" Type="http://schemas.openxmlformats.org/officeDocument/2006/relationships/tags" Target="../tags/tag271.xml"/><Relationship Id="rId4" Type="http://schemas.openxmlformats.org/officeDocument/2006/relationships/slideLayout" Target="../slideLayouts/slideLayout49.xml"/><Relationship Id="rId9" Type="http://schemas.openxmlformats.org/officeDocument/2006/relationships/tags" Target="../tags/tag261.xml"/><Relationship Id="rId14" Type="http://schemas.openxmlformats.org/officeDocument/2006/relationships/tags" Target="../tags/tag266.xml"/><Relationship Id="rId22" Type="http://schemas.openxmlformats.org/officeDocument/2006/relationships/tags" Target="../tags/tag274.xml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tags" Target="../tags/tag281.xml"/><Relationship Id="rId13" Type="http://schemas.openxmlformats.org/officeDocument/2006/relationships/tags" Target="../tags/tag286.xml"/><Relationship Id="rId18" Type="http://schemas.openxmlformats.org/officeDocument/2006/relationships/tags" Target="../tags/tag291.xml"/><Relationship Id="rId3" Type="http://schemas.openxmlformats.org/officeDocument/2006/relationships/slideLayout" Target="../slideLayouts/slideLayout52.xml"/><Relationship Id="rId21" Type="http://schemas.openxmlformats.org/officeDocument/2006/relationships/tags" Target="../tags/tag294.xml"/><Relationship Id="rId7" Type="http://schemas.openxmlformats.org/officeDocument/2006/relationships/tags" Target="../tags/tag280.xml"/><Relationship Id="rId12" Type="http://schemas.openxmlformats.org/officeDocument/2006/relationships/tags" Target="../tags/tag285.xml"/><Relationship Id="rId17" Type="http://schemas.openxmlformats.org/officeDocument/2006/relationships/tags" Target="../tags/tag290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51.xml"/><Relationship Id="rId16" Type="http://schemas.openxmlformats.org/officeDocument/2006/relationships/tags" Target="../tags/tag289.xml"/><Relationship Id="rId20" Type="http://schemas.openxmlformats.org/officeDocument/2006/relationships/tags" Target="../tags/tag293.xml"/><Relationship Id="rId1" Type="http://schemas.openxmlformats.org/officeDocument/2006/relationships/slideLayout" Target="../slideLayouts/slideLayout50.xml"/><Relationship Id="rId6" Type="http://schemas.openxmlformats.org/officeDocument/2006/relationships/vmlDrawing" Target="../drawings/vmlDrawing63.vml"/><Relationship Id="rId11" Type="http://schemas.openxmlformats.org/officeDocument/2006/relationships/tags" Target="../tags/tag284.xml"/><Relationship Id="rId24" Type="http://schemas.openxmlformats.org/officeDocument/2006/relationships/oleObject" Target="../embeddings/oleObject63.bin"/><Relationship Id="rId5" Type="http://schemas.openxmlformats.org/officeDocument/2006/relationships/theme" Target="../theme/theme14.xml"/><Relationship Id="rId15" Type="http://schemas.openxmlformats.org/officeDocument/2006/relationships/tags" Target="../tags/tag288.xml"/><Relationship Id="rId23" Type="http://schemas.openxmlformats.org/officeDocument/2006/relationships/tags" Target="../tags/tag296.xml"/><Relationship Id="rId10" Type="http://schemas.openxmlformats.org/officeDocument/2006/relationships/tags" Target="../tags/tag283.xml"/><Relationship Id="rId19" Type="http://schemas.openxmlformats.org/officeDocument/2006/relationships/tags" Target="../tags/tag292.xml"/><Relationship Id="rId4" Type="http://schemas.openxmlformats.org/officeDocument/2006/relationships/slideLayout" Target="../slideLayouts/slideLayout53.xml"/><Relationship Id="rId9" Type="http://schemas.openxmlformats.org/officeDocument/2006/relationships/tags" Target="../tags/tag282.xml"/><Relationship Id="rId14" Type="http://schemas.openxmlformats.org/officeDocument/2006/relationships/tags" Target="../tags/tag287.xml"/><Relationship Id="rId22" Type="http://schemas.openxmlformats.org/officeDocument/2006/relationships/tags" Target="../tags/tag295.xml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tags" Target="../tags/tag302.xml"/><Relationship Id="rId13" Type="http://schemas.openxmlformats.org/officeDocument/2006/relationships/tags" Target="../tags/tag307.xml"/><Relationship Id="rId18" Type="http://schemas.openxmlformats.org/officeDocument/2006/relationships/tags" Target="../tags/tag312.xml"/><Relationship Id="rId3" Type="http://schemas.openxmlformats.org/officeDocument/2006/relationships/slideLayout" Target="../slideLayouts/slideLayout56.xml"/><Relationship Id="rId21" Type="http://schemas.openxmlformats.org/officeDocument/2006/relationships/tags" Target="../tags/tag315.xml"/><Relationship Id="rId7" Type="http://schemas.openxmlformats.org/officeDocument/2006/relationships/tags" Target="../tags/tag301.xml"/><Relationship Id="rId12" Type="http://schemas.openxmlformats.org/officeDocument/2006/relationships/tags" Target="../tags/tag306.xml"/><Relationship Id="rId17" Type="http://schemas.openxmlformats.org/officeDocument/2006/relationships/tags" Target="../tags/tag311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55.xml"/><Relationship Id="rId16" Type="http://schemas.openxmlformats.org/officeDocument/2006/relationships/tags" Target="../tags/tag310.xml"/><Relationship Id="rId20" Type="http://schemas.openxmlformats.org/officeDocument/2006/relationships/tags" Target="../tags/tag314.xml"/><Relationship Id="rId1" Type="http://schemas.openxmlformats.org/officeDocument/2006/relationships/slideLayout" Target="../slideLayouts/slideLayout54.xml"/><Relationship Id="rId6" Type="http://schemas.openxmlformats.org/officeDocument/2006/relationships/vmlDrawing" Target="../drawings/vmlDrawing68.vml"/><Relationship Id="rId11" Type="http://schemas.openxmlformats.org/officeDocument/2006/relationships/tags" Target="../tags/tag305.xml"/><Relationship Id="rId24" Type="http://schemas.openxmlformats.org/officeDocument/2006/relationships/oleObject" Target="../embeddings/oleObject68.bin"/><Relationship Id="rId5" Type="http://schemas.openxmlformats.org/officeDocument/2006/relationships/theme" Target="../theme/theme15.xml"/><Relationship Id="rId15" Type="http://schemas.openxmlformats.org/officeDocument/2006/relationships/tags" Target="../tags/tag309.xml"/><Relationship Id="rId23" Type="http://schemas.openxmlformats.org/officeDocument/2006/relationships/tags" Target="../tags/tag317.xml"/><Relationship Id="rId10" Type="http://schemas.openxmlformats.org/officeDocument/2006/relationships/tags" Target="../tags/tag304.xml"/><Relationship Id="rId19" Type="http://schemas.openxmlformats.org/officeDocument/2006/relationships/tags" Target="../tags/tag313.xml"/><Relationship Id="rId4" Type="http://schemas.openxmlformats.org/officeDocument/2006/relationships/slideLayout" Target="../slideLayouts/slideLayout57.xml"/><Relationship Id="rId9" Type="http://schemas.openxmlformats.org/officeDocument/2006/relationships/tags" Target="../tags/tag303.xml"/><Relationship Id="rId14" Type="http://schemas.openxmlformats.org/officeDocument/2006/relationships/tags" Target="../tags/tag308.xml"/><Relationship Id="rId22" Type="http://schemas.openxmlformats.org/officeDocument/2006/relationships/tags" Target="../tags/tag316.xml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tags" Target="../tags/tag323.xml"/><Relationship Id="rId13" Type="http://schemas.openxmlformats.org/officeDocument/2006/relationships/tags" Target="../tags/tag328.xml"/><Relationship Id="rId18" Type="http://schemas.openxmlformats.org/officeDocument/2006/relationships/tags" Target="../tags/tag333.xml"/><Relationship Id="rId3" Type="http://schemas.openxmlformats.org/officeDocument/2006/relationships/slideLayout" Target="../slideLayouts/slideLayout60.xml"/><Relationship Id="rId21" Type="http://schemas.openxmlformats.org/officeDocument/2006/relationships/tags" Target="../tags/tag336.xml"/><Relationship Id="rId7" Type="http://schemas.openxmlformats.org/officeDocument/2006/relationships/tags" Target="../tags/tag322.xml"/><Relationship Id="rId12" Type="http://schemas.openxmlformats.org/officeDocument/2006/relationships/tags" Target="../tags/tag327.xml"/><Relationship Id="rId17" Type="http://schemas.openxmlformats.org/officeDocument/2006/relationships/tags" Target="../tags/tag332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59.xml"/><Relationship Id="rId16" Type="http://schemas.openxmlformats.org/officeDocument/2006/relationships/tags" Target="../tags/tag331.xml"/><Relationship Id="rId20" Type="http://schemas.openxmlformats.org/officeDocument/2006/relationships/tags" Target="../tags/tag335.xml"/><Relationship Id="rId1" Type="http://schemas.openxmlformats.org/officeDocument/2006/relationships/slideLayout" Target="../slideLayouts/slideLayout58.xml"/><Relationship Id="rId6" Type="http://schemas.openxmlformats.org/officeDocument/2006/relationships/vmlDrawing" Target="../drawings/vmlDrawing73.vml"/><Relationship Id="rId11" Type="http://schemas.openxmlformats.org/officeDocument/2006/relationships/tags" Target="../tags/tag326.xml"/><Relationship Id="rId24" Type="http://schemas.openxmlformats.org/officeDocument/2006/relationships/oleObject" Target="../embeddings/oleObject73.bin"/><Relationship Id="rId5" Type="http://schemas.openxmlformats.org/officeDocument/2006/relationships/theme" Target="../theme/theme16.xml"/><Relationship Id="rId15" Type="http://schemas.openxmlformats.org/officeDocument/2006/relationships/tags" Target="../tags/tag330.xml"/><Relationship Id="rId23" Type="http://schemas.openxmlformats.org/officeDocument/2006/relationships/tags" Target="../tags/tag338.xml"/><Relationship Id="rId10" Type="http://schemas.openxmlformats.org/officeDocument/2006/relationships/tags" Target="../tags/tag325.xml"/><Relationship Id="rId19" Type="http://schemas.openxmlformats.org/officeDocument/2006/relationships/tags" Target="../tags/tag334.xml"/><Relationship Id="rId4" Type="http://schemas.openxmlformats.org/officeDocument/2006/relationships/slideLayout" Target="../slideLayouts/slideLayout61.xml"/><Relationship Id="rId9" Type="http://schemas.openxmlformats.org/officeDocument/2006/relationships/tags" Target="../tags/tag324.xml"/><Relationship Id="rId14" Type="http://schemas.openxmlformats.org/officeDocument/2006/relationships/tags" Target="../tags/tag329.xml"/><Relationship Id="rId22" Type="http://schemas.openxmlformats.org/officeDocument/2006/relationships/tags" Target="../tags/tag337.xml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tags" Target="../tags/tag344.xml"/><Relationship Id="rId13" Type="http://schemas.openxmlformats.org/officeDocument/2006/relationships/tags" Target="../tags/tag349.xml"/><Relationship Id="rId18" Type="http://schemas.openxmlformats.org/officeDocument/2006/relationships/tags" Target="../tags/tag354.xml"/><Relationship Id="rId3" Type="http://schemas.openxmlformats.org/officeDocument/2006/relationships/slideLayout" Target="../slideLayouts/slideLayout64.xml"/><Relationship Id="rId21" Type="http://schemas.openxmlformats.org/officeDocument/2006/relationships/tags" Target="../tags/tag357.xml"/><Relationship Id="rId7" Type="http://schemas.openxmlformats.org/officeDocument/2006/relationships/tags" Target="../tags/tag343.xml"/><Relationship Id="rId12" Type="http://schemas.openxmlformats.org/officeDocument/2006/relationships/tags" Target="../tags/tag348.xml"/><Relationship Id="rId17" Type="http://schemas.openxmlformats.org/officeDocument/2006/relationships/tags" Target="../tags/tag353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63.xml"/><Relationship Id="rId16" Type="http://schemas.openxmlformats.org/officeDocument/2006/relationships/tags" Target="../tags/tag352.xml"/><Relationship Id="rId20" Type="http://schemas.openxmlformats.org/officeDocument/2006/relationships/tags" Target="../tags/tag356.xml"/><Relationship Id="rId1" Type="http://schemas.openxmlformats.org/officeDocument/2006/relationships/slideLayout" Target="../slideLayouts/slideLayout62.xml"/><Relationship Id="rId6" Type="http://schemas.openxmlformats.org/officeDocument/2006/relationships/vmlDrawing" Target="../drawings/vmlDrawing78.vml"/><Relationship Id="rId11" Type="http://schemas.openxmlformats.org/officeDocument/2006/relationships/tags" Target="../tags/tag347.xml"/><Relationship Id="rId24" Type="http://schemas.openxmlformats.org/officeDocument/2006/relationships/oleObject" Target="../embeddings/oleObject78.bin"/><Relationship Id="rId5" Type="http://schemas.openxmlformats.org/officeDocument/2006/relationships/theme" Target="../theme/theme17.xml"/><Relationship Id="rId15" Type="http://schemas.openxmlformats.org/officeDocument/2006/relationships/tags" Target="../tags/tag351.xml"/><Relationship Id="rId23" Type="http://schemas.openxmlformats.org/officeDocument/2006/relationships/tags" Target="../tags/tag359.xml"/><Relationship Id="rId10" Type="http://schemas.openxmlformats.org/officeDocument/2006/relationships/tags" Target="../tags/tag346.xml"/><Relationship Id="rId19" Type="http://schemas.openxmlformats.org/officeDocument/2006/relationships/tags" Target="../tags/tag355.xml"/><Relationship Id="rId4" Type="http://schemas.openxmlformats.org/officeDocument/2006/relationships/slideLayout" Target="../slideLayouts/slideLayout65.xml"/><Relationship Id="rId9" Type="http://schemas.openxmlformats.org/officeDocument/2006/relationships/tags" Target="../tags/tag345.xml"/><Relationship Id="rId14" Type="http://schemas.openxmlformats.org/officeDocument/2006/relationships/tags" Target="../tags/tag350.xml"/><Relationship Id="rId22" Type="http://schemas.openxmlformats.org/officeDocument/2006/relationships/tags" Target="../tags/tag358.xml"/></Relationships>
</file>

<file path=ppt/slideMasters/_rels/slideMaster18.xml.rels><?xml version="1.0" encoding="UTF-8" standalone="yes"?>
<Relationships xmlns="http://schemas.openxmlformats.org/package/2006/relationships"><Relationship Id="rId8" Type="http://schemas.openxmlformats.org/officeDocument/2006/relationships/tags" Target="../tags/tag366.xml"/><Relationship Id="rId13" Type="http://schemas.openxmlformats.org/officeDocument/2006/relationships/tags" Target="../tags/tag371.xml"/><Relationship Id="rId18" Type="http://schemas.openxmlformats.org/officeDocument/2006/relationships/tags" Target="../tags/tag376.xml"/><Relationship Id="rId3" Type="http://schemas.openxmlformats.org/officeDocument/2006/relationships/slideLayout" Target="../slideLayouts/slideLayout68.xml"/><Relationship Id="rId21" Type="http://schemas.openxmlformats.org/officeDocument/2006/relationships/tags" Target="../tags/tag379.xml"/><Relationship Id="rId7" Type="http://schemas.openxmlformats.org/officeDocument/2006/relationships/tags" Target="../tags/tag365.xml"/><Relationship Id="rId12" Type="http://schemas.openxmlformats.org/officeDocument/2006/relationships/tags" Target="../tags/tag370.xml"/><Relationship Id="rId17" Type="http://schemas.openxmlformats.org/officeDocument/2006/relationships/tags" Target="../tags/tag375.xml"/><Relationship Id="rId2" Type="http://schemas.openxmlformats.org/officeDocument/2006/relationships/slideLayout" Target="../slideLayouts/slideLayout67.xml"/><Relationship Id="rId16" Type="http://schemas.openxmlformats.org/officeDocument/2006/relationships/tags" Target="../tags/tag374.xml"/><Relationship Id="rId20" Type="http://schemas.openxmlformats.org/officeDocument/2006/relationships/tags" Target="../tags/tag378.xml"/><Relationship Id="rId1" Type="http://schemas.openxmlformats.org/officeDocument/2006/relationships/slideLayout" Target="../slideLayouts/slideLayout66.xml"/><Relationship Id="rId6" Type="http://schemas.openxmlformats.org/officeDocument/2006/relationships/tags" Target="../tags/tag364.xml"/><Relationship Id="rId11" Type="http://schemas.openxmlformats.org/officeDocument/2006/relationships/tags" Target="../tags/tag369.xml"/><Relationship Id="rId24" Type="http://schemas.openxmlformats.org/officeDocument/2006/relationships/image" Target="../media/image1.emf"/><Relationship Id="rId5" Type="http://schemas.openxmlformats.org/officeDocument/2006/relationships/vmlDrawing" Target="../drawings/vmlDrawing83.vml"/><Relationship Id="rId15" Type="http://schemas.openxmlformats.org/officeDocument/2006/relationships/tags" Target="../tags/tag373.xml"/><Relationship Id="rId23" Type="http://schemas.openxmlformats.org/officeDocument/2006/relationships/oleObject" Target="../embeddings/oleObject83.bin"/><Relationship Id="rId10" Type="http://schemas.openxmlformats.org/officeDocument/2006/relationships/tags" Target="../tags/tag368.xml"/><Relationship Id="rId19" Type="http://schemas.openxmlformats.org/officeDocument/2006/relationships/tags" Target="../tags/tag377.xml"/><Relationship Id="rId4" Type="http://schemas.openxmlformats.org/officeDocument/2006/relationships/theme" Target="../theme/theme18.xml"/><Relationship Id="rId9" Type="http://schemas.openxmlformats.org/officeDocument/2006/relationships/tags" Target="../tags/tag367.xml"/><Relationship Id="rId14" Type="http://schemas.openxmlformats.org/officeDocument/2006/relationships/tags" Target="../tags/tag372.xml"/><Relationship Id="rId22" Type="http://schemas.openxmlformats.org/officeDocument/2006/relationships/tags" Target="../tags/tag380.xml"/></Relationships>
</file>

<file path=ppt/slideMasters/_rels/slideMaster19.xml.rels><?xml version="1.0" encoding="UTF-8" standalone="yes"?>
<Relationships xmlns="http://schemas.openxmlformats.org/package/2006/relationships"><Relationship Id="rId8" Type="http://schemas.openxmlformats.org/officeDocument/2006/relationships/tags" Target="../tags/tag385.xml"/><Relationship Id="rId13" Type="http://schemas.openxmlformats.org/officeDocument/2006/relationships/tags" Target="../tags/tag390.xml"/><Relationship Id="rId18" Type="http://schemas.openxmlformats.org/officeDocument/2006/relationships/tags" Target="../tags/tag395.xml"/><Relationship Id="rId3" Type="http://schemas.openxmlformats.org/officeDocument/2006/relationships/slideLayout" Target="../slideLayouts/slideLayout71.xml"/><Relationship Id="rId21" Type="http://schemas.openxmlformats.org/officeDocument/2006/relationships/tags" Target="../tags/tag398.xml"/><Relationship Id="rId7" Type="http://schemas.openxmlformats.org/officeDocument/2006/relationships/tags" Target="../tags/tag384.xml"/><Relationship Id="rId12" Type="http://schemas.openxmlformats.org/officeDocument/2006/relationships/tags" Target="../tags/tag389.xml"/><Relationship Id="rId17" Type="http://schemas.openxmlformats.org/officeDocument/2006/relationships/tags" Target="../tags/tag394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70.xml"/><Relationship Id="rId16" Type="http://schemas.openxmlformats.org/officeDocument/2006/relationships/tags" Target="../tags/tag393.xml"/><Relationship Id="rId20" Type="http://schemas.openxmlformats.org/officeDocument/2006/relationships/tags" Target="../tags/tag397.xml"/><Relationship Id="rId1" Type="http://schemas.openxmlformats.org/officeDocument/2006/relationships/slideLayout" Target="../slideLayouts/slideLayout69.xml"/><Relationship Id="rId6" Type="http://schemas.openxmlformats.org/officeDocument/2006/relationships/vmlDrawing" Target="../drawings/vmlDrawing87.vml"/><Relationship Id="rId11" Type="http://schemas.openxmlformats.org/officeDocument/2006/relationships/tags" Target="../tags/tag388.xml"/><Relationship Id="rId24" Type="http://schemas.openxmlformats.org/officeDocument/2006/relationships/oleObject" Target="../embeddings/oleObject87.bin"/><Relationship Id="rId5" Type="http://schemas.openxmlformats.org/officeDocument/2006/relationships/theme" Target="../theme/theme19.xml"/><Relationship Id="rId15" Type="http://schemas.openxmlformats.org/officeDocument/2006/relationships/tags" Target="../tags/tag392.xml"/><Relationship Id="rId23" Type="http://schemas.openxmlformats.org/officeDocument/2006/relationships/tags" Target="../tags/tag400.xml"/><Relationship Id="rId10" Type="http://schemas.openxmlformats.org/officeDocument/2006/relationships/tags" Target="../tags/tag387.xml"/><Relationship Id="rId19" Type="http://schemas.openxmlformats.org/officeDocument/2006/relationships/tags" Target="../tags/tag396.xml"/><Relationship Id="rId4" Type="http://schemas.openxmlformats.org/officeDocument/2006/relationships/slideLayout" Target="../slideLayouts/slideLayout72.xml"/><Relationship Id="rId9" Type="http://schemas.openxmlformats.org/officeDocument/2006/relationships/tags" Target="../tags/tag386.xml"/><Relationship Id="rId14" Type="http://schemas.openxmlformats.org/officeDocument/2006/relationships/tags" Target="../tags/tag391.xml"/><Relationship Id="rId22" Type="http://schemas.openxmlformats.org/officeDocument/2006/relationships/tags" Target="../tags/tag39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25.xml"/><Relationship Id="rId13" Type="http://schemas.openxmlformats.org/officeDocument/2006/relationships/tags" Target="../tags/tag30.xml"/><Relationship Id="rId18" Type="http://schemas.openxmlformats.org/officeDocument/2006/relationships/tags" Target="../tags/tag35.xml"/><Relationship Id="rId3" Type="http://schemas.openxmlformats.org/officeDocument/2006/relationships/slideLayout" Target="../slideLayouts/slideLayout7.xml"/><Relationship Id="rId21" Type="http://schemas.openxmlformats.org/officeDocument/2006/relationships/tags" Target="../tags/tag38.xml"/><Relationship Id="rId7" Type="http://schemas.openxmlformats.org/officeDocument/2006/relationships/tags" Target="../tags/tag24.xml"/><Relationship Id="rId12" Type="http://schemas.openxmlformats.org/officeDocument/2006/relationships/tags" Target="../tags/tag29.xml"/><Relationship Id="rId17" Type="http://schemas.openxmlformats.org/officeDocument/2006/relationships/tags" Target="../tags/tag34.xml"/><Relationship Id="rId2" Type="http://schemas.openxmlformats.org/officeDocument/2006/relationships/slideLayout" Target="../slideLayouts/slideLayout6.xml"/><Relationship Id="rId16" Type="http://schemas.openxmlformats.org/officeDocument/2006/relationships/tags" Target="../tags/tag33.xml"/><Relationship Id="rId20" Type="http://schemas.openxmlformats.org/officeDocument/2006/relationships/tags" Target="../tags/tag37.xml"/><Relationship Id="rId1" Type="http://schemas.openxmlformats.org/officeDocument/2006/relationships/slideLayout" Target="../slideLayouts/slideLayout5.xml"/><Relationship Id="rId6" Type="http://schemas.openxmlformats.org/officeDocument/2006/relationships/tags" Target="../tags/tag23.xml"/><Relationship Id="rId11" Type="http://schemas.openxmlformats.org/officeDocument/2006/relationships/tags" Target="../tags/tag28.xml"/><Relationship Id="rId24" Type="http://schemas.openxmlformats.org/officeDocument/2006/relationships/image" Target="../media/image1.emf"/><Relationship Id="rId5" Type="http://schemas.openxmlformats.org/officeDocument/2006/relationships/vmlDrawing" Target="../drawings/vmlDrawing6.vml"/><Relationship Id="rId15" Type="http://schemas.openxmlformats.org/officeDocument/2006/relationships/tags" Target="../tags/tag32.xml"/><Relationship Id="rId23" Type="http://schemas.openxmlformats.org/officeDocument/2006/relationships/oleObject" Target="../embeddings/oleObject6.bin"/><Relationship Id="rId10" Type="http://schemas.openxmlformats.org/officeDocument/2006/relationships/tags" Target="../tags/tag27.xml"/><Relationship Id="rId19" Type="http://schemas.openxmlformats.org/officeDocument/2006/relationships/tags" Target="../tags/tag36.xml"/><Relationship Id="rId4" Type="http://schemas.openxmlformats.org/officeDocument/2006/relationships/theme" Target="../theme/theme2.xml"/><Relationship Id="rId9" Type="http://schemas.openxmlformats.org/officeDocument/2006/relationships/tags" Target="../tags/tag26.xml"/><Relationship Id="rId14" Type="http://schemas.openxmlformats.org/officeDocument/2006/relationships/tags" Target="../tags/tag31.xml"/><Relationship Id="rId22" Type="http://schemas.openxmlformats.org/officeDocument/2006/relationships/tags" Target="../tags/tag39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46.xml"/><Relationship Id="rId13" Type="http://schemas.openxmlformats.org/officeDocument/2006/relationships/tags" Target="../tags/tag51.xml"/><Relationship Id="rId18" Type="http://schemas.openxmlformats.org/officeDocument/2006/relationships/tags" Target="../tags/tag56.xml"/><Relationship Id="rId3" Type="http://schemas.openxmlformats.org/officeDocument/2006/relationships/slideLayout" Target="../slideLayouts/slideLayout10.xml"/><Relationship Id="rId21" Type="http://schemas.openxmlformats.org/officeDocument/2006/relationships/tags" Target="../tags/tag59.xml"/><Relationship Id="rId7" Type="http://schemas.openxmlformats.org/officeDocument/2006/relationships/tags" Target="../tags/tag45.xml"/><Relationship Id="rId12" Type="http://schemas.openxmlformats.org/officeDocument/2006/relationships/tags" Target="../tags/tag50.xml"/><Relationship Id="rId17" Type="http://schemas.openxmlformats.org/officeDocument/2006/relationships/tags" Target="../tags/tag55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9.xml"/><Relationship Id="rId16" Type="http://schemas.openxmlformats.org/officeDocument/2006/relationships/tags" Target="../tags/tag54.xml"/><Relationship Id="rId20" Type="http://schemas.openxmlformats.org/officeDocument/2006/relationships/tags" Target="../tags/tag58.xml"/><Relationship Id="rId1" Type="http://schemas.openxmlformats.org/officeDocument/2006/relationships/slideLayout" Target="../slideLayouts/slideLayout8.xml"/><Relationship Id="rId6" Type="http://schemas.openxmlformats.org/officeDocument/2006/relationships/vmlDrawing" Target="../drawings/vmlDrawing10.vml"/><Relationship Id="rId11" Type="http://schemas.openxmlformats.org/officeDocument/2006/relationships/tags" Target="../tags/tag49.xml"/><Relationship Id="rId24" Type="http://schemas.openxmlformats.org/officeDocument/2006/relationships/oleObject" Target="../embeddings/oleObject10.bin"/><Relationship Id="rId5" Type="http://schemas.openxmlformats.org/officeDocument/2006/relationships/theme" Target="../theme/theme3.xml"/><Relationship Id="rId15" Type="http://schemas.openxmlformats.org/officeDocument/2006/relationships/tags" Target="../tags/tag53.xml"/><Relationship Id="rId23" Type="http://schemas.openxmlformats.org/officeDocument/2006/relationships/tags" Target="../tags/tag61.xml"/><Relationship Id="rId10" Type="http://schemas.openxmlformats.org/officeDocument/2006/relationships/tags" Target="../tags/tag48.xml"/><Relationship Id="rId19" Type="http://schemas.openxmlformats.org/officeDocument/2006/relationships/tags" Target="../tags/tag57.xml"/><Relationship Id="rId4" Type="http://schemas.openxmlformats.org/officeDocument/2006/relationships/slideLayout" Target="../slideLayouts/slideLayout11.xml"/><Relationship Id="rId9" Type="http://schemas.openxmlformats.org/officeDocument/2006/relationships/tags" Target="../tags/tag47.xml"/><Relationship Id="rId14" Type="http://schemas.openxmlformats.org/officeDocument/2006/relationships/tags" Target="../tags/tag52.xml"/><Relationship Id="rId22" Type="http://schemas.openxmlformats.org/officeDocument/2006/relationships/tags" Target="../tags/tag60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ags" Target="../tags/tag69.xml"/><Relationship Id="rId13" Type="http://schemas.openxmlformats.org/officeDocument/2006/relationships/tags" Target="../tags/tag74.xml"/><Relationship Id="rId18" Type="http://schemas.openxmlformats.org/officeDocument/2006/relationships/tags" Target="../tags/tag79.xml"/><Relationship Id="rId3" Type="http://schemas.openxmlformats.org/officeDocument/2006/relationships/slideLayout" Target="../slideLayouts/slideLayout14.xml"/><Relationship Id="rId21" Type="http://schemas.openxmlformats.org/officeDocument/2006/relationships/tags" Target="../tags/tag82.xml"/><Relationship Id="rId7" Type="http://schemas.openxmlformats.org/officeDocument/2006/relationships/tags" Target="../tags/tag68.xml"/><Relationship Id="rId12" Type="http://schemas.openxmlformats.org/officeDocument/2006/relationships/tags" Target="../tags/tag73.xml"/><Relationship Id="rId17" Type="http://schemas.openxmlformats.org/officeDocument/2006/relationships/tags" Target="../tags/tag78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13.xml"/><Relationship Id="rId16" Type="http://schemas.openxmlformats.org/officeDocument/2006/relationships/tags" Target="../tags/tag77.xml"/><Relationship Id="rId20" Type="http://schemas.openxmlformats.org/officeDocument/2006/relationships/tags" Target="../tags/tag81.xml"/><Relationship Id="rId1" Type="http://schemas.openxmlformats.org/officeDocument/2006/relationships/slideLayout" Target="../slideLayouts/slideLayout12.xml"/><Relationship Id="rId6" Type="http://schemas.openxmlformats.org/officeDocument/2006/relationships/vmlDrawing" Target="../drawings/vmlDrawing15.vml"/><Relationship Id="rId11" Type="http://schemas.openxmlformats.org/officeDocument/2006/relationships/tags" Target="../tags/tag72.xml"/><Relationship Id="rId24" Type="http://schemas.openxmlformats.org/officeDocument/2006/relationships/oleObject" Target="../embeddings/oleObject15.bin"/><Relationship Id="rId5" Type="http://schemas.openxmlformats.org/officeDocument/2006/relationships/theme" Target="../theme/theme4.xml"/><Relationship Id="rId15" Type="http://schemas.openxmlformats.org/officeDocument/2006/relationships/tags" Target="../tags/tag76.xml"/><Relationship Id="rId23" Type="http://schemas.openxmlformats.org/officeDocument/2006/relationships/tags" Target="../tags/tag84.xml"/><Relationship Id="rId10" Type="http://schemas.openxmlformats.org/officeDocument/2006/relationships/tags" Target="../tags/tag71.xml"/><Relationship Id="rId19" Type="http://schemas.openxmlformats.org/officeDocument/2006/relationships/tags" Target="../tags/tag80.xml"/><Relationship Id="rId4" Type="http://schemas.openxmlformats.org/officeDocument/2006/relationships/slideLayout" Target="../slideLayouts/slideLayout15.xml"/><Relationship Id="rId9" Type="http://schemas.openxmlformats.org/officeDocument/2006/relationships/tags" Target="../tags/tag70.xml"/><Relationship Id="rId14" Type="http://schemas.openxmlformats.org/officeDocument/2006/relationships/tags" Target="../tags/tag75.xml"/><Relationship Id="rId22" Type="http://schemas.openxmlformats.org/officeDocument/2006/relationships/tags" Target="../tags/tag83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tags" Target="../tags/tag91.xml"/><Relationship Id="rId13" Type="http://schemas.openxmlformats.org/officeDocument/2006/relationships/tags" Target="../tags/tag96.xml"/><Relationship Id="rId18" Type="http://schemas.openxmlformats.org/officeDocument/2006/relationships/tags" Target="../tags/tag101.xml"/><Relationship Id="rId3" Type="http://schemas.openxmlformats.org/officeDocument/2006/relationships/slideLayout" Target="../slideLayouts/slideLayout18.xml"/><Relationship Id="rId21" Type="http://schemas.openxmlformats.org/officeDocument/2006/relationships/tags" Target="../tags/tag104.xml"/><Relationship Id="rId7" Type="http://schemas.openxmlformats.org/officeDocument/2006/relationships/tags" Target="../tags/tag90.xml"/><Relationship Id="rId12" Type="http://schemas.openxmlformats.org/officeDocument/2006/relationships/tags" Target="../tags/tag95.xml"/><Relationship Id="rId17" Type="http://schemas.openxmlformats.org/officeDocument/2006/relationships/tags" Target="../tags/tag100.xml"/><Relationship Id="rId2" Type="http://schemas.openxmlformats.org/officeDocument/2006/relationships/slideLayout" Target="../slideLayouts/slideLayout17.xml"/><Relationship Id="rId16" Type="http://schemas.openxmlformats.org/officeDocument/2006/relationships/tags" Target="../tags/tag99.xml"/><Relationship Id="rId20" Type="http://schemas.openxmlformats.org/officeDocument/2006/relationships/tags" Target="../tags/tag103.xml"/><Relationship Id="rId1" Type="http://schemas.openxmlformats.org/officeDocument/2006/relationships/slideLayout" Target="../slideLayouts/slideLayout16.xml"/><Relationship Id="rId6" Type="http://schemas.openxmlformats.org/officeDocument/2006/relationships/tags" Target="../tags/tag89.xml"/><Relationship Id="rId11" Type="http://schemas.openxmlformats.org/officeDocument/2006/relationships/tags" Target="../tags/tag94.xml"/><Relationship Id="rId24" Type="http://schemas.openxmlformats.org/officeDocument/2006/relationships/image" Target="../media/image1.emf"/><Relationship Id="rId5" Type="http://schemas.openxmlformats.org/officeDocument/2006/relationships/vmlDrawing" Target="../drawings/vmlDrawing20.vml"/><Relationship Id="rId15" Type="http://schemas.openxmlformats.org/officeDocument/2006/relationships/tags" Target="../tags/tag98.xml"/><Relationship Id="rId23" Type="http://schemas.openxmlformats.org/officeDocument/2006/relationships/oleObject" Target="../embeddings/oleObject20.bin"/><Relationship Id="rId10" Type="http://schemas.openxmlformats.org/officeDocument/2006/relationships/tags" Target="../tags/tag93.xml"/><Relationship Id="rId19" Type="http://schemas.openxmlformats.org/officeDocument/2006/relationships/tags" Target="../tags/tag102.xml"/><Relationship Id="rId4" Type="http://schemas.openxmlformats.org/officeDocument/2006/relationships/theme" Target="../theme/theme5.xml"/><Relationship Id="rId9" Type="http://schemas.openxmlformats.org/officeDocument/2006/relationships/tags" Target="../tags/tag92.xml"/><Relationship Id="rId14" Type="http://schemas.openxmlformats.org/officeDocument/2006/relationships/tags" Target="../tags/tag97.xml"/><Relationship Id="rId22" Type="http://schemas.openxmlformats.org/officeDocument/2006/relationships/tags" Target="../tags/tag105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tags" Target="../tags/tag112.xml"/><Relationship Id="rId13" Type="http://schemas.openxmlformats.org/officeDocument/2006/relationships/tags" Target="../tags/tag117.xml"/><Relationship Id="rId18" Type="http://schemas.openxmlformats.org/officeDocument/2006/relationships/tags" Target="../tags/tag122.xml"/><Relationship Id="rId3" Type="http://schemas.openxmlformats.org/officeDocument/2006/relationships/slideLayout" Target="../slideLayouts/slideLayout21.xml"/><Relationship Id="rId21" Type="http://schemas.openxmlformats.org/officeDocument/2006/relationships/tags" Target="../tags/tag125.xml"/><Relationship Id="rId7" Type="http://schemas.openxmlformats.org/officeDocument/2006/relationships/tags" Target="../tags/tag111.xml"/><Relationship Id="rId12" Type="http://schemas.openxmlformats.org/officeDocument/2006/relationships/tags" Target="../tags/tag116.xml"/><Relationship Id="rId17" Type="http://schemas.openxmlformats.org/officeDocument/2006/relationships/tags" Target="../tags/tag121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0.xml"/><Relationship Id="rId16" Type="http://schemas.openxmlformats.org/officeDocument/2006/relationships/tags" Target="../tags/tag120.xml"/><Relationship Id="rId20" Type="http://schemas.openxmlformats.org/officeDocument/2006/relationships/tags" Target="../tags/tag124.xml"/><Relationship Id="rId1" Type="http://schemas.openxmlformats.org/officeDocument/2006/relationships/slideLayout" Target="../slideLayouts/slideLayout19.xml"/><Relationship Id="rId6" Type="http://schemas.openxmlformats.org/officeDocument/2006/relationships/vmlDrawing" Target="../drawings/vmlDrawing24.vml"/><Relationship Id="rId11" Type="http://schemas.openxmlformats.org/officeDocument/2006/relationships/tags" Target="../tags/tag115.xml"/><Relationship Id="rId24" Type="http://schemas.openxmlformats.org/officeDocument/2006/relationships/oleObject" Target="../embeddings/oleObject24.bin"/><Relationship Id="rId5" Type="http://schemas.openxmlformats.org/officeDocument/2006/relationships/theme" Target="../theme/theme6.xml"/><Relationship Id="rId15" Type="http://schemas.openxmlformats.org/officeDocument/2006/relationships/tags" Target="../tags/tag119.xml"/><Relationship Id="rId23" Type="http://schemas.openxmlformats.org/officeDocument/2006/relationships/tags" Target="../tags/tag127.xml"/><Relationship Id="rId10" Type="http://schemas.openxmlformats.org/officeDocument/2006/relationships/tags" Target="../tags/tag114.xml"/><Relationship Id="rId19" Type="http://schemas.openxmlformats.org/officeDocument/2006/relationships/tags" Target="../tags/tag123.xml"/><Relationship Id="rId4" Type="http://schemas.openxmlformats.org/officeDocument/2006/relationships/slideLayout" Target="../slideLayouts/slideLayout22.xml"/><Relationship Id="rId9" Type="http://schemas.openxmlformats.org/officeDocument/2006/relationships/tags" Target="../tags/tag113.xml"/><Relationship Id="rId14" Type="http://schemas.openxmlformats.org/officeDocument/2006/relationships/tags" Target="../tags/tag118.xml"/><Relationship Id="rId22" Type="http://schemas.openxmlformats.org/officeDocument/2006/relationships/tags" Target="../tags/tag126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tags" Target="../tags/tag134.xml"/><Relationship Id="rId13" Type="http://schemas.openxmlformats.org/officeDocument/2006/relationships/tags" Target="../tags/tag139.xml"/><Relationship Id="rId18" Type="http://schemas.openxmlformats.org/officeDocument/2006/relationships/tags" Target="../tags/tag144.xml"/><Relationship Id="rId3" Type="http://schemas.openxmlformats.org/officeDocument/2006/relationships/slideLayout" Target="../slideLayouts/slideLayout25.xml"/><Relationship Id="rId21" Type="http://schemas.openxmlformats.org/officeDocument/2006/relationships/tags" Target="../tags/tag147.xml"/><Relationship Id="rId7" Type="http://schemas.openxmlformats.org/officeDocument/2006/relationships/tags" Target="../tags/tag133.xml"/><Relationship Id="rId12" Type="http://schemas.openxmlformats.org/officeDocument/2006/relationships/tags" Target="../tags/tag138.xml"/><Relationship Id="rId17" Type="http://schemas.openxmlformats.org/officeDocument/2006/relationships/tags" Target="../tags/tag143.xml"/><Relationship Id="rId2" Type="http://schemas.openxmlformats.org/officeDocument/2006/relationships/slideLayout" Target="../slideLayouts/slideLayout24.xml"/><Relationship Id="rId16" Type="http://schemas.openxmlformats.org/officeDocument/2006/relationships/tags" Target="../tags/tag142.xml"/><Relationship Id="rId20" Type="http://schemas.openxmlformats.org/officeDocument/2006/relationships/tags" Target="../tags/tag146.xml"/><Relationship Id="rId1" Type="http://schemas.openxmlformats.org/officeDocument/2006/relationships/slideLayout" Target="../slideLayouts/slideLayout23.xml"/><Relationship Id="rId6" Type="http://schemas.openxmlformats.org/officeDocument/2006/relationships/tags" Target="../tags/tag132.xml"/><Relationship Id="rId11" Type="http://schemas.openxmlformats.org/officeDocument/2006/relationships/tags" Target="../tags/tag137.xml"/><Relationship Id="rId24" Type="http://schemas.openxmlformats.org/officeDocument/2006/relationships/image" Target="../media/image1.emf"/><Relationship Id="rId5" Type="http://schemas.openxmlformats.org/officeDocument/2006/relationships/vmlDrawing" Target="../drawings/vmlDrawing29.vml"/><Relationship Id="rId15" Type="http://schemas.openxmlformats.org/officeDocument/2006/relationships/tags" Target="../tags/tag141.xml"/><Relationship Id="rId23" Type="http://schemas.openxmlformats.org/officeDocument/2006/relationships/oleObject" Target="../embeddings/oleObject29.bin"/><Relationship Id="rId10" Type="http://schemas.openxmlformats.org/officeDocument/2006/relationships/tags" Target="../tags/tag136.xml"/><Relationship Id="rId19" Type="http://schemas.openxmlformats.org/officeDocument/2006/relationships/tags" Target="../tags/tag145.xml"/><Relationship Id="rId4" Type="http://schemas.openxmlformats.org/officeDocument/2006/relationships/theme" Target="../theme/theme7.xml"/><Relationship Id="rId9" Type="http://schemas.openxmlformats.org/officeDocument/2006/relationships/tags" Target="../tags/tag135.xml"/><Relationship Id="rId14" Type="http://schemas.openxmlformats.org/officeDocument/2006/relationships/tags" Target="../tags/tag140.xml"/><Relationship Id="rId22" Type="http://schemas.openxmlformats.org/officeDocument/2006/relationships/tags" Target="../tags/tag148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tags" Target="../tags/tag155.xml"/><Relationship Id="rId13" Type="http://schemas.openxmlformats.org/officeDocument/2006/relationships/tags" Target="../tags/tag160.xml"/><Relationship Id="rId18" Type="http://schemas.openxmlformats.org/officeDocument/2006/relationships/tags" Target="../tags/tag165.xml"/><Relationship Id="rId3" Type="http://schemas.openxmlformats.org/officeDocument/2006/relationships/slideLayout" Target="../slideLayouts/slideLayout28.xml"/><Relationship Id="rId21" Type="http://schemas.openxmlformats.org/officeDocument/2006/relationships/tags" Target="../tags/tag168.xml"/><Relationship Id="rId7" Type="http://schemas.openxmlformats.org/officeDocument/2006/relationships/tags" Target="../tags/tag154.xml"/><Relationship Id="rId12" Type="http://schemas.openxmlformats.org/officeDocument/2006/relationships/tags" Target="../tags/tag159.xml"/><Relationship Id="rId17" Type="http://schemas.openxmlformats.org/officeDocument/2006/relationships/tags" Target="../tags/tag164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7.xml"/><Relationship Id="rId16" Type="http://schemas.openxmlformats.org/officeDocument/2006/relationships/tags" Target="../tags/tag163.xml"/><Relationship Id="rId20" Type="http://schemas.openxmlformats.org/officeDocument/2006/relationships/tags" Target="../tags/tag167.xml"/><Relationship Id="rId1" Type="http://schemas.openxmlformats.org/officeDocument/2006/relationships/slideLayout" Target="../slideLayouts/slideLayout26.xml"/><Relationship Id="rId6" Type="http://schemas.openxmlformats.org/officeDocument/2006/relationships/vmlDrawing" Target="../drawings/vmlDrawing33.vml"/><Relationship Id="rId11" Type="http://schemas.openxmlformats.org/officeDocument/2006/relationships/tags" Target="../tags/tag158.xml"/><Relationship Id="rId24" Type="http://schemas.openxmlformats.org/officeDocument/2006/relationships/oleObject" Target="../embeddings/oleObject33.bin"/><Relationship Id="rId5" Type="http://schemas.openxmlformats.org/officeDocument/2006/relationships/theme" Target="../theme/theme8.xml"/><Relationship Id="rId15" Type="http://schemas.openxmlformats.org/officeDocument/2006/relationships/tags" Target="../tags/tag162.xml"/><Relationship Id="rId23" Type="http://schemas.openxmlformats.org/officeDocument/2006/relationships/tags" Target="../tags/tag170.xml"/><Relationship Id="rId10" Type="http://schemas.openxmlformats.org/officeDocument/2006/relationships/tags" Target="../tags/tag157.xml"/><Relationship Id="rId19" Type="http://schemas.openxmlformats.org/officeDocument/2006/relationships/tags" Target="../tags/tag166.xml"/><Relationship Id="rId4" Type="http://schemas.openxmlformats.org/officeDocument/2006/relationships/slideLayout" Target="../slideLayouts/slideLayout29.xml"/><Relationship Id="rId9" Type="http://schemas.openxmlformats.org/officeDocument/2006/relationships/tags" Target="../tags/tag156.xml"/><Relationship Id="rId14" Type="http://schemas.openxmlformats.org/officeDocument/2006/relationships/tags" Target="../tags/tag161.xml"/><Relationship Id="rId22" Type="http://schemas.openxmlformats.org/officeDocument/2006/relationships/tags" Target="../tags/tag169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tags" Target="../tags/tag176.xml"/><Relationship Id="rId13" Type="http://schemas.openxmlformats.org/officeDocument/2006/relationships/tags" Target="../tags/tag181.xml"/><Relationship Id="rId18" Type="http://schemas.openxmlformats.org/officeDocument/2006/relationships/tags" Target="../tags/tag186.xml"/><Relationship Id="rId3" Type="http://schemas.openxmlformats.org/officeDocument/2006/relationships/slideLayout" Target="../slideLayouts/slideLayout32.xml"/><Relationship Id="rId21" Type="http://schemas.openxmlformats.org/officeDocument/2006/relationships/tags" Target="../tags/tag189.xml"/><Relationship Id="rId7" Type="http://schemas.openxmlformats.org/officeDocument/2006/relationships/tags" Target="../tags/tag175.xml"/><Relationship Id="rId12" Type="http://schemas.openxmlformats.org/officeDocument/2006/relationships/tags" Target="../tags/tag180.xml"/><Relationship Id="rId17" Type="http://schemas.openxmlformats.org/officeDocument/2006/relationships/tags" Target="../tags/tag185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31.xml"/><Relationship Id="rId16" Type="http://schemas.openxmlformats.org/officeDocument/2006/relationships/tags" Target="../tags/tag184.xml"/><Relationship Id="rId20" Type="http://schemas.openxmlformats.org/officeDocument/2006/relationships/tags" Target="../tags/tag188.xml"/><Relationship Id="rId1" Type="http://schemas.openxmlformats.org/officeDocument/2006/relationships/slideLayout" Target="../slideLayouts/slideLayout30.xml"/><Relationship Id="rId6" Type="http://schemas.openxmlformats.org/officeDocument/2006/relationships/vmlDrawing" Target="../drawings/vmlDrawing38.vml"/><Relationship Id="rId11" Type="http://schemas.openxmlformats.org/officeDocument/2006/relationships/tags" Target="../tags/tag179.xml"/><Relationship Id="rId24" Type="http://schemas.openxmlformats.org/officeDocument/2006/relationships/oleObject" Target="../embeddings/oleObject38.bin"/><Relationship Id="rId5" Type="http://schemas.openxmlformats.org/officeDocument/2006/relationships/theme" Target="../theme/theme9.xml"/><Relationship Id="rId15" Type="http://schemas.openxmlformats.org/officeDocument/2006/relationships/tags" Target="../tags/tag183.xml"/><Relationship Id="rId23" Type="http://schemas.openxmlformats.org/officeDocument/2006/relationships/tags" Target="../tags/tag191.xml"/><Relationship Id="rId10" Type="http://schemas.openxmlformats.org/officeDocument/2006/relationships/tags" Target="../tags/tag178.xml"/><Relationship Id="rId19" Type="http://schemas.openxmlformats.org/officeDocument/2006/relationships/tags" Target="../tags/tag187.xml"/><Relationship Id="rId4" Type="http://schemas.openxmlformats.org/officeDocument/2006/relationships/slideLayout" Target="../slideLayouts/slideLayout33.xml"/><Relationship Id="rId9" Type="http://schemas.openxmlformats.org/officeDocument/2006/relationships/tags" Target="../tags/tag177.xml"/><Relationship Id="rId14" Type="http://schemas.openxmlformats.org/officeDocument/2006/relationships/tags" Target="../tags/tag182.xml"/><Relationship Id="rId22" Type="http://schemas.openxmlformats.org/officeDocument/2006/relationships/tags" Target="../tags/tag19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970365452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0917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11/23/2018 3:04 P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6" r:id="rId3"/>
    <p:sldLayoutId id="2147483701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166103955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4950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11/23/2018 3:04 P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03966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0" r:id="rId1"/>
    <p:sldLayoutId id="2147483741" r:id="rId2"/>
    <p:sldLayoutId id="2147483742" r:id="rId3"/>
    <p:sldLayoutId id="2147483743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3629603467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094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11/23/2018 3:04 P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434574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5" r:id="rId1"/>
    <p:sldLayoutId id="2147483746" r:id="rId2"/>
    <p:sldLayoutId id="2147483747" r:id="rId3"/>
    <p:sldLayoutId id="2147483748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352036809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7237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11/23/2018 3:04 P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242188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0" r:id="rId1"/>
    <p:sldLayoutId id="2147483751" r:id="rId2"/>
    <p:sldLayoutId id="2147483752" r:id="rId3"/>
    <p:sldLayoutId id="2147483753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/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3377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11/23/2018 3:04 P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2292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5" r:id="rId1"/>
    <p:sldLayoutId id="2147483756" r:id="rId2"/>
    <p:sldLayoutId id="2147483757" r:id="rId3"/>
    <p:sldLayoutId id="2147483758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/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3591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11/23/2018 3:04 P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787962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0" r:id="rId1"/>
    <p:sldLayoutId id="2147483761" r:id="rId2"/>
    <p:sldLayoutId id="2147483762" r:id="rId3"/>
    <p:sldLayoutId id="2147483763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/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1779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11/23/2018 3:04 P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864718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5" r:id="rId1"/>
    <p:sldLayoutId id="2147483766" r:id="rId2"/>
    <p:sldLayoutId id="2147483767" r:id="rId3"/>
    <p:sldLayoutId id="2147483768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/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6039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11/23/2018 3:04 P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34633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0" r:id="rId1"/>
    <p:sldLayoutId id="2147483771" r:id="rId2"/>
    <p:sldLayoutId id="2147483772" r:id="rId3"/>
    <p:sldLayoutId id="2147483773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/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1159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11/23/2018 3:04 P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68223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5" r:id="rId1"/>
    <p:sldLayoutId id="2147483776" r:id="rId2"/>
    <p:sldLayoutId id="2147483777" r:id="rId3"/>
    <p:sldLayoutId id="2147483778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763036694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7526"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7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11/23/2018 3:04 P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61458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0" r:id="rId1"/>
    <p:sldLayoutId id="2147483781" r:id="rId2"/>
    <p:sldLayoutId id="2147483782" r:id="rId3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/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7718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11/23/2018 3:04 P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538535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4" r:id="rId1"/>
    <p:sldLayoutId id="2147483785" r:id="rId2"/>
    <p:sldLayoutId id="2147483786" r:id="rId3"/>
    <p:sldLayoutId id="2147483787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239440010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2601"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7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435565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3" r:id="rId1"/>
    <p:sldLayoutId id="2147483704" r:id="rId2"/>
    <p:sldLayoutId id="2147483705" r:id="rId3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/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2827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 eaLnBrk="1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3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11/23/2018 3:04 P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/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/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/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/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1"/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1"/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1"/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 dirty="0"/>
              <a:t>Click to edit Master text styles</a:t>
            </a:r>
          </a:p>
          <a:p>
            <a:pPr lvl="1" latinLnBrk="0"/>
            <a:r>
              <a:rPr lang="en-US" dirty="0"/>
              <a:t>Second level</a:t>
            </a:r>
          </a:p>
          <a:p>
            <a:pPr lvl="2" latinLnBrk="0"/>
            <a:r>
              <a:rPr lang="en-US" dirty="0"/>
              <a:t>Third level</a:t>
            </a:r>
          </a:p>
          <a:p>
            <a:pPr lvl="3" latinLnBrk="0"/>
            <a:r>
              <a:rPr lang="en-US" dirty="0"/>
              <a:t>Fourth level</a:t>
            </a:r>
          </a:p>
          <a:p>
            <a:pPr lvl="4" latinLnBrk="0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4676983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7" r:id="rId1"/>
    <p:sldLayoutId id="2147483708" r:id="rId2"/>
    <p:sldLayoutId id="2147483709" r:id="rId3"/>
    <p:sldLayoutId id="2147483710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076273586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1001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11/23/2018 3:04 P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2008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2" r:id="rId1"/>
    <p:sldLayoutId id="2147483713" r:id="rId2"/>
    <p:sldLayoutId id="2147483714" r:id="rId3"/>
    <p:sldLayoutId id="2147483715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4025583101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161"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7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11/23/2018 3:04 P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452082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9" r:id="rId1"/>
    <p:sldLayoutId id="2147483717" r:id="rId2"/>
    <p:sldLayoutId id="2147483718" r:id="rId3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/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5311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11/23/2018 3:04 P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361770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1" r:id="rId1"/>
    <p:sldLayoutId id="2147483722" r:id="rId2"/>
    <p:sldLayoutId id="2147483723" r:id="rId3"/>
    <p:sldLayoutId id="2147483724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/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3490"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7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11/23/2018 3:04 P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20453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6" r:id="rId1"/>
    <p:sldLayoutId id="2147483727" r:id="rId2"/>
    <p:sldLayoutId id="2147483728" r:id="rId3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/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3706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11/23/2018 3:04 P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859358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0" r:id="rId1"/>
    <p:sldLayoutId id="2147483731" r:id="rId2"/>
    <p:sldLayoutId id="2147483732" r:id="rId3"/>
    <p:sldLayoutId id="2147483733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033629373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853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11/23/2018 3:04 P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526439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5" r:id="rId1"/>
    <p:sldLayoutId id="2147483736" r:id="rId2"/>
    <p:sldLayoutId id="2147483737" r:id="rId3"/>
    <p:sldLayoutId id="2147483738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tiff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406.xml"/><Relationship Id="rId7" Type="http://schemas.openxmlformats.org/officeDocument/2006/relationships/image" Target="../media/image11.emf"/><Relationship Id="rId2" Type="http://schemas.openxmlformats.org/officeDocument/2006/relationships/tags" Target="../tags/tag405.xml"/><Relationship Id="rId1" Type="http://schemas.openxmlformats.org/officeDocument/2006/relationships/vmlDrawing" Target="../drawings/vmlDrawing92.vml"/><Relationship Id="rId6" Type="http://schemas.openxmlformats.org/officeDocument/2006/relationships/oleObject" Target="../embeddings/oleObject92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413.xml"/><Relationship Id="rId13" Type="http://schemas.openxmlformats.org/officeDocument/2006/relationships/tags" Target="../tags/tag418.xml"/><Relationship Id="rId18" Type="http://schemas.openxmlformats.org/officeDocument/2006/relationships/tags" Target="../tags/tag423.xml"/><Relationship Id="rId26" Type="http://schemas.openxmlformats.org/officeDocument/2006/relationships/tags" Target="../tags/tag431.xml"/><Relationship Id="rId3" Type="http://schemas.openxmlformats.org/officeDocument/2006/relationships/tags" Target="../tags/tag408.xml"/><Relationship Id="rId21" Type="http://schemas.openxmlformats.org/officeDocument/2006/relationships/tags" Target="../tags/tag426.xml"/><Relationship Id="rId7" Type="http://schemas.openxmlformats.org/officeDocument/2006/relationships/tags" Target="../tags/tag412.xml"/><Relationship Id="rId12" Type="http://schemas.openxmlformats.org/officeDocument/2006/relationships/tags" Target="../tags/tag417.xml"/><Relationship Id="rId17" Type="http://schemas.openxmlformats.org/officeDocument/2006/relationships/tags" Target="../tags/tag422.xml"/><Relationship Id="rId25" Type="http://schemas.openxmlformats.org/officeDocument/2006/relationships/tags" Target="../tags/tag430.xml"/><Relationship Id="rId2" Type="http://schemas.openxmlformats.org/officeDocument/2006/relationships/tags" Target="../tags/tag407.xml"/><Relationship Id="rId16" Type="http://schemas.openxmlformats.org/officeDocument/2006/relationships/tags" Target="../tags/tag421.xml"/><Relationship Id="rId20" Type="http://schemas.openxmlformats.org/officeDocument/2006/relationships/tags" Target="../tags/tag425.xml"/><Relationship Id="rId29" Type="http://schemas.openxmlformats.org/officeDocument/2006/relationships/slideLayout" Target="../slideLayouts/slideLayout2.xml"/><Relationship Id="rId1" Type="http://schemas.openxmlformats.org/officeDocument/2006/relationships/vmlDrawing" Target="../drawings/vmlDrawing93.vml"/><Relationship Id="rId6" Type="http://schemas.openxmlformats.org/officeDocument/2006/relationships/tags" Target="../tags/tag411.xml"/><Relationship Id="rId11" Type="http://schemas.openxmlformats.org/officeDocument/2006/relationships/tags" Target="../tags/tag416.xml"/><Relationship Id="rId24" Type="http://schemas.openxmlformats.org/officeDocument/2006/relationships/tags" Target="../tags/tag429.xml"/><Relationship Id="rId32" Type="http://schemas.openxmlformats.org/officeDocument/2006/relationships/image" Target="../media/image11.emf"/><Relationship Id="rId5" Type="http://schemas.openxmlformats.org/officeDocument/2006/relationships/tags" Target="../tags/tag410.xml"/><Relationship Id="rId15" Type="http://schemas.openxmlformats.org/officeDocument/2006/relationships/tags" Target="../tags/tag420.xml"/><Relationship Id="rId23" Type="http://schemas.openxmlformats.org/officeDocument/2006/relationships/tags" Target="../tags/tag428.xml"/><Relationship Id="rId28" Type="http://schemas.openxmlformats.org/officeDocument/2006/relationships/tags" Target="../tags/tag433.xml"/><Relationship Id="rId10" Type="http://schemas.openxmlformats.org/officeDocument/2006/relationships/tags" Target="../tags/tag415.xml"/><Relationship Id="rId19" Type="http://schemas.openxmlformats.org/officeDocument/2006/relationships/tags" Target="../tags/tag424.xml"/><Relationship Id="rId31" Type="http://schemas.openxmlformats.org/officeDocument/2006/relationships/oleObject" Target="../embeddings/oleObject93.bin"/><Relationship Id="rId4" Type="http://schemas.openxmlformats.org/officeDocument/2006/relationships/tags" Target="../tags/tag409.xml"/><Relationship Id="rId9" Type="http://schemas.openxmlformats.org/officeDocument/2006/relationships/tags" Target="../tags/tag414.xml"/><Relationship Id="rId14" Type="http://schemas.openxmlformats.org/officeDocument/2006/relationships/tags" Target="../tags/tag419.xml"/><Relationship Id="rId22" Type="http://schemas.openxmlformats.org/officeDocument/2006/relationships/tags" Target="../tags/tag427.xml"/><Relationship Id="rId27" Type="http://schemas.openxmlformats.org/officeDocument/2006/relationships/tags" Target="../tags/tag432.xml"/><Relationship Id="rId30" Type="http://schemas.openxmlformats.org/officeDocument/2006/relationships/notesSlide" Target="../notesSlides/notesSlide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2"/>
          <a:srcRect b="16100"/>
          <a:stretch/>
        </p:blipFill>
        <p:spPr>
          <a:xfrm>
            <a:off x="-39230" y="635"/>
            <a:ext cx="12027572" cy="6720840"/>
          </a:xfrm>
          <a:prstGeom prst="rect">
            <a:avLst/>
          </a:prstGeom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008050E5-41DE-476C-94FB-C4CAD6DBC9E8}"/>
              </a:ext>
            </a:extLst>
          </p:cNvPr>
          <p:cNvSpPr txBox="1">
            <a:spLocks/>
          </p:cNvSpPr>
          <p:nvPr/>
        </p:nvSpPr>
        <p:spPr bwMode="gray">
          <a:xfrm>
            <a:off x="-39230" y="474562"/>
            <a:ext cx="12027571" cy="1526678"/>
          </a:xfrm>
          <a:prstGeom prst="rect">
            <a:avLst/>
          </a:prstGeom>
          <a:solidFill>
            <a:schemeClr val="tx1">
              <a:alpha val="68000"/>
            </a:schemeClr>
          </a:solidFill>
          <a:ln>
            <a:noFill/>
          </a:ln>
          <a:effectLst/>
          <a:ex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algn="l" defTabSz="119386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359851" algn="l"/>
              </a:tabLst>
              <a:defRPr sz="3200" b="0" baseline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  <a:lvl2pPr algn="l" defTabSz="1193860" rtl="0" eaLnBrk="1" fontAlgn="base" hangingPunct="1">
              <a:spcBef>
                <a:spcPct val="0"/>
              </a:spcBef>
              <a:spcAft>
                <a:spcPct val="0"/>
              </a:spcAft>
              <a:defRPr sz="2533" b="1">
                <a:solidFill>
                  <a:schemeClr val="tx2"/>
                </a:solidFill>
                <a:latin typeface="Arial" charset="0"/>
              </a:defRPr>
            </a:lvl2pPr>
            <a:lvl3pPr algn="l" defTabSz="1193860" rtl="0" eaLnBrk="1" fontAlgn="base" hangingPunct="1">
              <a:spcBef>
                <a:spcPct val="0"/>
              </a:spcBef>
              <a:spcAft>
                <a:spcPct val="0"/>
              </a:spcAft>
              <a:defRPr sz="2533" b="1">
                <a:solidFill>
                  <a:schemeClr val="tx2"/>
                </a:solidFill>
                <a:latin typeface="Arial" charset="0"/>
              </a:defRPr>
            </a:lvl3pPr>
            <a:lvl4pPr algn="l" defTabSz="1193860" rtl="0" eaLnBrk="1" fontAlgn="base" hangingPunct="1">
              <a:spcBef>
                <a:spcPct val="0"/>
              </a:spcBef>
              <a:spcAft>
                <a:spcPct val="0"/>
              </a:spcAft>
              <a:defRPr sz="2533" b="1">
                <a:solidFill>
                  <a:schemeClr val="tx2"/>
                </a:solidFill>
                <a:latin typeface="Arial" charset="0"/>
              </a:defRPr>
            </a:lvl4pPr>
            <a:lvl5pPr algn="l" defTabSz="1193860" rtl="0" eaLnBrk="1" fontAlgn="base" hangingPunct="1">
              <a:spcBef>
                <a:spcPct val="0"/>
              </a:spcBef>
              <a:spcAft>
                <a:spcPct val="0"/>
              </a:spcAft>
              <a:defRPr sz="2533" b="1">
                <a:solidFill>
                  <a:schemeClr val="tx2"/>
                </a:solidFill>
                <a:latin typeface="Arial" charset="0"/>
              </a:defRPr>
            </a:lvl5pPr>
            <a:lvl6pPr marL="609630" algn="l" defTabSz="1193860" rtl="0" eaLnBrk="1" fontAlgn="base" hangingPunct="1">
              <a:spcBef>
                <a:spcPct val="0"/>
              </a:spcBef>
              <a:spcAft>
                <a:spcPct val="0"/>
              </a:spcAft>
              <a:defRPr sz="2533" b="1">
                <a:solidFill>
                  <a:schemeClr val="tx2"/>
                </a:solidFill>
                <a:latin typeface="Arial" charset="0"/>
              </a:defRPr>
            </a:lvl6pPr>
            <a:lvl7pPr marL="1219261" algn="l" defTabSz="1193860" rtl="0" eaLnBrk="1" fontAlgn="base" hangingPunct="1">
              <a:spcBef>
                <a:spcPct val="0"/>
              </a:spcBef>
              <a:spcAft>
                <a:spcPct val="0"/>
              </a:spcAft>
              <a:defRPr sz="2533" b="1">
                <a:solidFill>
                  <a:schemeClr val="tx2"/>
                </a:solidFill>
                <a:latin typeface="Arial" charset="0"/>
              </a:defRPr>
            </a:lvl7pPr>
            <a:lvl8pPr marL="1828891" algn="l" defTabSz="1193860" rtl="0" eaLnBrk="1" fontAlgn="base" hangingPunct="1">
              <a:spcBef>
                <a:spcPct val="0"/>
              </a:spcBef>
              <a:spcAft>
                <a:spcPct val="0"/>
              </a:spcAft>
              <a:defRPr sz="2533" b="1">
                <a:solidFill>
                  <a:schemeClr val="tx2"/>
                </a:solidFill>
                <a:latin typeface="Arial" charset="0"/>
              </a:defRPr>
            </a:lvl8pPr>
            <a:lvl9pPr marL="2438522" algn="l" defTabSz="1193860" rtl="0" eaLnBrk="1" fontAlgn="base" hangingPunct="1">
              <a:spcBef>
                <a:spcPct val="0"/>
              </a:spcBef>
              <a:spcAft>
                <a:spcPct val="0"/>
              </a:spcAft>
              <a:defRPr sz="2533" b="1">
                <a:solidFill>
                  <a:schemeClr val="tx2"/>
                </a:solidFill>
                <a:latin typeface="Arial" charset="0"/>
              </a:defRPr>
            </a:lvl9pPr>
          </a:lstStyle>
          <a:p>
            <a:pPr algn="ctr"/>
            <a:r>
              <a:rPr lang="en-US" sz="3600" dirty="0">
                <a:solidFill>
                  <a:schemeClr val="bg2"/>
                </a:solidFill>
              </a:rPr>
              <a:t>Sales Capability Building as a Transformation Enabler</a:t>
            </a:r>
            <a:endParaRPr lang="en-US" sz="3600" kern="0" dirty="0">
              <a:solidFill>
                <a:schemeClr val="bg2"/>
              </a:solidFill>
            </a:endParaRPr>
          </a:p>
        </p:txBody>
      </p:sp>
      <p:sp>
        <p:nvSpPr>
          <p:cNvPr id="5" name="Rectangle 13">
            <a:extLst>
              <a:ext uri="{FF2B5EF4-FFF2-40B4-BE49-F238E27FC236}">
                <a16:creationId xmlns:a16="http://schemas.microsoft.com/office/drawing/2014/main" id="{4554D3CB-BE76-454B-9C13-A4B72B5F782A}"/>
              </a:ext>
            </a:extLst>
          </p:cNvPr>
          <p:cNvSpPr>
            <a:spLocks noChangeArrowheads="1"/>
          </p:cNvSpPr>
          <p:nvPr/>
        </p:nvSpPr>
        <p:spPr bwMode="gray">
          <a:xfrm>
            <a:off x="11282589" y="0"/>
            <a:ext cx="666524" cy="130629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r>
              <a:rPr lang="hr-HR" sz="1000" b="1">
                <a:solidFill>
                  <a:srgbClr val="FFFFFF"/>
                </a:solidFill>
                <a:latin typeface="Arial" pitchFamily="34" charset="0"/>
              </a:rPr>
              <a:t>TEL016</a:t>
            </a:r>
            <a:endParaRPr lang="pl-PL" sz="1000" b="1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6" name="Rectangle 13">
            <a:extLst>
              <a:ext uri="{FF2B5EF4-FFF2-40B4-BE49-F238E27FC236}">
                <a16:creationId xmlns:a16="http://schemas.microsoft.com/office/drawing/2014/main" id="{DC44CA0B-D3A8-45E6-A8A9-540CE0E855BA}"/>
              </a:ext>
            </a:extLst>
          </p:cNvPr>
          <p:cNvSpPr>
            <a:spLocks noChangeArrowheads="1"/>
          </p:cNvSpPr>
          <p:nvPr/>
        </p:nvSpPr>
        <p:spPr bwMode="gray">
          <a:xfrm>
            <a:off x="-1" y="10078"/>
            <a:ext cx="2355274" cy="145663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r>
              <a:rPr lang="pl-PL" sz="1000" b="1" dirty="0">
                <a:solidFill>
                  <a:srgbClr val="FFFFFF"/>
                </a:solidFill>
                <a:latin typeface="Arial" pitchFamily="34" charset="0"/>
              </a:rPr>
              <a:t>TMT | </a:t>
            </a:r>
            <a:r>
              <a:rPr lang="pl-PL" sz="1000" b="1" dirty="0" err="1">
                <a:solidFill>
                  <a:srgbClr val="FFFFFF"/>
                </a:solidFill>
                <a:latin typeface="Arial" pitchFamily="34" charset="0"/>
              </a:rPr>
              <a:t>North</a:t>
            </a:r>
            <a:r>
              <a:rPr lang="pl-PL" sz="1000" b="1" dirty="0">
                <a:solidFill>
                  <a:srgbClr val="FFFFFF"/>
                </a:solidFill>
                <a:latin typeface="Arial" pitchFamily="34" charset="0"/>
              </a:rPr>
              <a:t> </a:t>
            </a:r>
            <a:r>
              <a:rPr lang="pl-PL" sz="1000" b="1" dirty="0" err="1">
                <a:solidFill>
                  <a:srgbClr val="FFFFFF"/>
                </a:solidFill>
                <a:latin typeface="Arial" pitchFamily="34" charset="0"/>
              </a:rPr>
              <a:t>America</a:t>
            </a:r>
            <a:endParaRPr lang="en-US" sz="1000" b="1" dirty="0">
              <a:solidFill>
                <a:srgbClr val="FFFFFF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7492129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495426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8874" name="think-cell Slide" r:id="rId6" imgW="524" imgH="526" progId="TCLayout.ActiveDocument.1">
                  <p:embed/>
                </p:oleObj>
              </mc:Choice>
              <mc:Fallback>
                <p:oleObj name="think-cell Slide" r:id="rId6" imgW="524" imgH="5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495426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27A5EE62-4518-41CF-A06C-BEF9A60B426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00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230189"/>
            <a:ext cx="11491891" cy="307777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r>
              <a:rPr lang="en-US" dirty="0"/>
              <a:t>Case example: Sales Capability Building as a Transformation Enabler</a:t>
            </a:r>
          </a:p>
        </p:txBody>
      </p:sp>
      <p:sp>
        <p:nvSpPr>
          <p:cNvPr id="8" name="5. Source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/>
            <a:r>
              <a:rPr lang="en-US" altLang="zh-CN" sz="800" dirty="0">
                <a:solidFill>
                  <a:schemeClr val="accent6"/>
                </a:solidFill>
                <a:latin typeface="+mn-lt"/>
              </a:rPr>
              <a:t>SOURCE: McKinsey Product Management Case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73329486-F948-4E86-81E0-4DF4246992C6}"/>
              </a:ext>
            </a:extLst>
          </p:cNvPr>
          <p:cNvSpPr>
            <a:spLocks noChangeArrowheads="1"/>
          </p:cNvSpPr>
          <p:nvPr/>
        </p:nvSpPr>
        <p:spPr bwMode="gray">
          <a:xfrm>
            <a:off x="11166623" y="-6066"/>
            <a:ext cx="782490" cy="176066"/>
          </a:xfrm>
          <a:prstGeom prst="rect">
            <a:avLst/>
          </a:prstGeom>
          <a:solidFill>
            <a:srgbClr val="0065BD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20</a:t>
            </a:r>
            <a:r>
              <a:rPr kumimoji="0" lang="pl-PL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18101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EF4B36CB-6CD0-41FA-A67A-CA13F3DE6BCD}"/>
              </a:ext>
            </a:extLst>
          </p:cNvPr>
          <p:cNvSpPr>
            <a:spLocks noChangeArrowheads="1"/>
          </p:cNvSpPr>
          <p:nvPr/>
        </p:nvSpPr>
        <p:spPr bwMode="gray">
          <a:xfrm>
            <a:off x="1732" y="-18318"/>
            <a:ext cx="2445904" cy="182129"/>
          </a:xfrm>
          <a:prstGeom prst="rect">
            <a:avLst/>
          </a:prstGeom>
          <a:solidFill>
            <a:srgbClr val="0065BD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TELECOMMUNICATION| AMERICA</a:t>
            </a: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48" name="Oval 57"/>
          <p:cNvSpPr>
            <a:spLocks noChangeArrowheads="1"/>
          </p:cNvSpPr>
          <p:nvPr/>
        </p:nvSpPr>
        <p:spPr bwMode="auto">
          <a:xfrm>
            <a:off x="158759" y="827039"/>
            <a:ext cx="11491891" cy="2308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/>
        </p:spPr>
        <p:txBody>
          <a:bodyPr wrap="none" lIns="0" tIns="0" rIns="0" bIns="0" anchor="ctr">
            <a:noAutofit/>
          </a:bodyPr>
          <a:lstStyle/>
          <a:p>
            <a:r>
              <a:rPr lang="en-US" sz="1500" b="1" dirty="0">
                <a:solidFill>
                  <a:schemeClr val="accent4"/>
                </a:solidFill>
              </a:rPr>
              <a:t>EXAMPLE PROGRAM – TAILORED FOR CLIENT’S SPECIFIC NEEDS		</a:t>
            </a:r>
          </a:p>
        </p:txBody>
      </p:sp>
      <p:sp>
        <p:nvSpPr>
          <p:cNvPr id="4" name="TextBox 3"/>
          <p:cNvSpPr txBox="1">
            <a:spLocks/>
          </p:cNvSpPr>
          <p:nvPr/>
        </p:nvSpPr>
        <p:spPr>
          <a:xfrm>
            <a:off x="158759" y="1157776"/>
            <a:ext cx="2660641" cy="230832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500" b="1" dirty="0">
                <a:solidFill>
                  <a:schemeClr val="accent4"/>
                </a:solidFill>
              </a:rPr>
              <a:t>Context</a:t>
            </a:r>
          </a:p>
        </p:txBody>
      </p:sp>
      <p:sp>
        <p:nvSpPr>
          <p:cNvPr id="5" name="TextBox 4"/>
          <p:cNvSpPr txBox="1">
            <a:spLocks/>
          </p:cNvSpPr>
          <p:nvPr/>
        </p:nvSpPr>
        <p:spPr>
          <a:xfrm>
            <a:off x="158759" y="1490502"/>
            <a:ext cx="2660641" cy="4524315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ct val="10000"/>
              </a:spcBef>
            </a:pPr>
            <a:r>
              <a:rPr lang="en-US" sz="1500" b="1" dirty="0">
                <a:solidFill>
                  <a:schemeClr val="accent4"/>
                </a:solidFill>
              </a:rPr>
              <a:t>B2B sales organization facing consistent y-o-y revenue decline</a:t>
            </a:r>
          </a:p>
          <a:p>
            <a:pPr lvl="1">
              <a:spcBef>
                <a:spcPct val="10000"/>
              </a:spcBef>
            </a:pPr>
            <a:endParaRPr lang="en-US" sz="1500" b="1" dirty="0">
              <a:solidFill>
                <a:schemeClr val="accent4"/>
              </a:solidFill>
            </a:endParaRPr>
          </a:p>
          <a:p>
            <a:pPr lvl="1">
              <a:spcBef>
                <a:spcPct val="10000"/>
              </a:spcBef>
            </a:pPr>
            <a:r>
              <a:rPr lang="en-US" sz="1500" b="1" dirty="0">
                <a:solidFill>
                  <a:schemeClr val="accent4"/>
                </a:solidFill>
              </a:rPr>
              <a:t>GTM transformation to reorganized enterprise-level sales segments around ~4 priority industry verticals</a:t>
            </a:r>
          </a:p>
          <a:p>
            <a:pPr lvl="1">
              <a:spcBef>
                <a:spcPct val="10000"/>
              </a:spcBef>
            </a:pPr>
            <a:endParaRPr lang="en-US" sz="1500" b="1" dirty="0">
              <a:solidFill>
                <a:schemeClr val="accent4"/>
              </a:solidFill>
            </a:endParaRPr>
          </a:p>
          <a:p>
            <a:pPr lvl="1">
              <a:spcBef>
                <a:spcPct val="10000"/>
              </a:spcBef>
            </a:pPr>
            <a:r>
              <a:rPr lang="en-US" sz="1500" b="1" dirty="0">
                <a:solidFill>
                  <a:schemeClr val="accent4"/>
                </a:solidFill>
              </a:rPr>
              <a:t>Two core challenges facing frontline sellers</a:t>
            </a:r>
          </a:p>
          <a:p>
            <a:pPr lvl="2">
              <a:spcBef>
                <a:spcPct val="10000"/>
              </a:spcBef>
            </a:pPr>
            <a:r>
              <a:rPr lang="en-US" sz="1500" dirty="0"/>
              <a:t>Need to build consultative selling skills (historically focused on pushing product offerings)</a:t>
            </a:r>
          </a:p>
          <a:p>
            <a:pPr lvl="2">
              <a:spcBef>
                <a:spcPct val="10000"/>
              </a:spcBef>
            </a:pPr>
            <a:r>
              <a:rPr lang="en-US" sz="1500" dirty="0"/>
              <a:t>Change management related to GTM reorg/ disruption</a:t>
            </a:r>
          </a:p>
        </p:txBody>
      </p:sp>
      <p:sp>
        <p:nvSpPr>
          <p:cNvPr id="95" name="TextBox 94"/>
          <p:cNvSpPr txBox="1">
            <a:spLocks/>
          </p:cNvSpPr>
          <p:nvPr/>
        </p:nvSpPr>
        <p:spPr>
          <a:xfrm>
            <a:off x="3454758" y="1157776"/>
            <a:ext cx="4367340" cy="230832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500" b="1" dirty="0">
                <a:solidFill>
                  <a:schemeClr val="accent4"/>
                </a:solidFill>
              </a:rPr>
              <a:t>Approach</a:t>
            </a:r>
          </a:p>
        </p:txBody>
      </p:sp>
      <p:sp>
        <p:nvSpPr>
          <p:cNvPr id="96" name="TextBox 95"/>
          <p:cNvSpPr txBox="1">
            <a:spLocks/>
          </p:cNvSpPr>
          <p:nvPr/>
        </p:nvSpPr>
        <p:spPr>
          <a:xfrm>
            <a:off x="3454758" y="1490502"/>
            <a:ext cx="4367340" cy="3877985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spcBef>
                <a:spcPct val="30000"/>
              </a:spcBef>
            </a:pPr>
            <a:r>
              <a:rPr lang="en-US" sz="1500" b="1" dirty="0">
                <a:solidFill>
                  <a:schemeClr val="accent4"/>
                </a:solidFill>
              </a:rPr>
              <a:t>Multi-channel certification journey</a:t>
            </a:r>
            <a:r>
              <a:rPr lang="en-US" sz="1500" dirty="0"/>
              <a:t> – mix of e-learning modules to teach industry basics and in-person workshops to teach selling skills</a:t>
            </a:r>
          </a:p>
          <a:p>
            <a:pPr>
              <a:spcBef>
                <a:spcPct val="30000"/>
              </a:spcBef>
            </a:pPr>
            <a:endParaRPr lang="en-US" sz="1500" b="1" dirty="0">
              <a:solidFill>
                <a:schemeClr val="accent4"/>
              </a:solidFill>
            </a:endParaRPr>
          </a:p>
          <a:p>
            <a:pPr>
              <a:spcBef>
                <a:spcPct val="30000"/>
              </a:spcBef>
            </a:pPr>
            <a:r>
              <a:rPr lang="en-US" sz="1500" b="1" dirty="0">
                <a:solidFill>
                  <a:schemeClr val="accent4"/>
                </a:solidFill>
              </a:rPr>
              <a:t>Experiential content tailored to the sales </a:t>
            </a:r>
            <a:br>
              <a:rPr lang="en-US" sz="1500" b="1" dirty="0">
                <a:solidFill>
                  <a:schemeClr val="accent4"/>
                </a:solidFill>
              </a:rPr>
            </a:br>
            <a:r>
              <a:rPr lang="en-US" sz="1500" b="1" dirty="0">
                <a:solidFill>
                  <a:schemeClr val="accent4"/>
                </a:solidFill>
              </a:rPr>
              <a:t>motion</a:t>
            </a:r>
            <a:r>
              <a:rPr lang="en-US" sz="1500" dirty="0"/>
              <a:t> – case based approach; “voice of the buyer” video series</a:t>
            </a:r>
            <a:endParaRPr lang="en-US" sz="1500" b="1" dirty="0">
              <a:solidFill>
                <a:schemeClr val="accent4"/>
              </a:solidFill>
            </a:endParaRPr>
          </a:p>
          <a:p>
            <a:pPr>
              <a:spcBef>
                <a:spcPct val="30000"/>
              </a:spcBef>
            </a:pPr>
            <a:endParaRPr lang="en-US" sz="1500" dirty="0"/>
          </a:p>
          <a:p>
            <a:pPr>
              <a:spcBef>
                <a:spcPct val="30000"/>
              </a:spcBef>
            </a:pPr>
            <a:r>
              <a:rPr lang="en-US" sz="1500" b="1" dirty="0">
                <a:solidFill>
                  <a:schemeClr val="accent4"/>
                </a:solidFill>
              </a:rPr>
              <a:t>Manager-led &amp; sales owned</a:t>
            </a:r>
            <a:r>
              <a:rPr lang="en-US" sz="1500" dirty="0"/>
              <a:t> – managers have their own unique learning journey with a specific role as “faculty-coaches” for the frontline program</a:t>
            </a:r>
          </a:p>
          <a:p>
            <a:pPr>
              <a:spcBef>
                <a:spcPct val="30000"/>
              </a:spcBef>
            </a:pPr>
            <a:endParaRPr lang="en-US" sz="1500" b="1" dirty="0">
              <a:solidFill>
                <a:schemeClr val="accent4"/>
              </a:solidFill>
            </a:endParaRPr>
          </a:p>
          <a:p>
            <a:pPr>
              <a:spcBef>
                <a:spcPct val="30000"/>
              </a:spcBef>
            </a:pPr>
            <a:r>
              <a:rPr lang="en-US" sz="1500" b="1" dirty="0">
                <a:solidFill>
                  <a:schemeClr val="accent4"/>
                </a:solidFill>
              </a:rPr>
              <a:t>Linked to commercial activities</a:t>
            </a:r>
            <a:r>
              <a:rPr lang="en-US" sz="1500" dirty="0"/>
              <a:t> – field commitments that translate in-workshop learnings to real client situations </a:t>
            </a:r>
            <a:endParaRPr lang="en-US" sz="1500" b="1" dirty="0"/>
          </a:p>
        </p:txBody>
      </p:sp>
      <p:sp>
        <p:nvSpPr>
          <p:cNvPr id="104" name="TextBox 103"/>
          <p:cNvSpPr txBox="1">
            <a:spLocks/>
          </p:cNvSpPr>
          <p:nvPr/>
        </p:nvSpPr>
        <p:spPr>
          <a:xfrm>
            <a:off x="8457455" y="1157776"/>
            <a:ext cx="3193195" cy="230832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500" b="1" dirty="0">
                <a:solidFill>
                  <a:schemeClr val="accent4"/>
                </a:solidFill>
              </a:rPr>
              <a:t>Impact</a:t>
            </a:r>
          </a:p>
        </p:txBody>
      </p:sp>
      <p:sp>
        <p:nvSpPr>
          <p:cNvPr id="105" name="TextBox 104"/>
          <p:cNvSpPr txBox="1">
            <a:spLocks/>
          </p:cNvSpPr>
          <p:nvPr/>
        </p:nvSpPr>
        <p:spPr>
          <a:xfrm>
            <a:off x="8457455" y="1490502"/>
            <a:ext cx="3193195" cy="2746906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ct val="30000"/>
              </a:spcBef>
            </a:pPr>
            <a:r>
              <a:rPr lang="en-US" sz="1500" dirty="0"/>
              <a:t>~1,300+ sellers and their managers successfully completed program</a:t>
            </a:r>
          </a:p>
          <a:p>
            <a:pPr lvl="1">
              <a:spcBef>
                <a:spcPct val="30000"/>
              </a:spcBef>
            </a:pPr>
            <a:r>
              <a:rPr lang="en-US" sz="1500" dirty="0"/>
              <a:t>As of 1H 2018, Industry Verticals business unit beat plan for the first time in 2+ years</a:t>
            </a:r>
          </a:p>
          <a:p>
            <a:pPr lvl="1">
              <a:spcBef>
                <a:spcPct val="30000"/>
              </a:spcBef>
            </a:pPr>
            <a:r>
              <a:rPr lang="en-US" sz="1500" dirty="0"/>
              <a:t>~90% of participants would recommend program to colleague</a:t>
            </a:r>
          </a:p>
          <a:p>
            <a:pPr lvl="1">
              <a:spcBef>
                <a:spcPct val="30000"/>
              </a:spcBef>
            </a:pPr>
            <a:r>
              <a:rPr lang="en-US" sz="1500" dirty="0"/>
              <a:t>~90% of participants stated that manager coaching and feedback enhanced the learning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73087947-3F61-4A6C-BF01-88F7DDE78489}"/>
              </a:ext>
            </a:extLst>
          </p:cNvPr>
          <p:cNvSpPr txBox="1">
            <a:spLocks/>
          </p:cNvSpPr>
          <p:nvPr/>
        </p:nvSpPr>
        <p:spPr>
          <a:xfrm>
            <a:off x="8457455" y="4442563"/>
            <a:ext cx="3193195" cy="461665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 anchor="b" anchorCtr="0"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500" b="1" dirty="0">
                <a:solidFill>
                  <a:schemeClr val="accent4"/>
                </a:solidFill>
              </a:rPr>
              <a:t>Lessons learned for future deployments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92D39A4A-F3D8-45C2-B24B-FDA762E58EA4}"/>
              </a:ext>
            </a:extLst>
          </p:cNvPr>
          <p:cNvSpPr txBox="1">
            <a:spLocks/>
          </p:cNvSpPr>
          <p:nvPr/>
        </p:nvSpPr>
        <p:spPr>
          <a:xfrm>
            <a:off x="8457455" y="4995073"/>
            <a:ext cx="3193195" cy="122341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ct val="30000"/>
              </a:spcBef>
            </a:pPr>
            <a:r>
              <a:rPr lang="en-US" sz="1500" dirty="0"/>
              <a:t>Ensure owner for field commitments tracking at program launch</a:t>
            </a:r>
          </a:p>
          <a:p>
            <a:pPr lvl="1">
              <a:spcBef>
                <a:spcPct val="30000"/>
              </a:spcBef>
            </a:pPr>
            <a:r>
              <a:rPr lang="en-US" sz="1500" dirty="0"/>
              <a:t>Consistently reinforce sales as the “owner” of the program (vs. L&amp;D)</a:t>
            </a:r>
          </a:p>
        </p:txBody>
      </p:sp>
      <p:cxnSp>
        <p:nvCxnSpPr>
          <p:cNvPr id="7" name="Straight Connector 6"/>
          <p:cNvCxnSpPr>
            <a:cxnSpLocks/>
          </p:cNvCxnSpPr>
          <p:nvPr/>
        </p:nvCxnSpPr>
        <p:spPr>
          <a:xfrm>
            <a:off x="158759" y="1076921"/>
            <a:ext cx="11491891" cy="0"/>
          </a:xfrm>
          <a:prstGeom prst="line">
            <a:avLst/>
          </a:prstGeom>
          <a:ln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>
            <a:cxnSpLocks/>
          </p:cNvCxnSpPr>
          <p:nvPr/>
        </p:nvCxnSpPr>
        <p:spPr>
          <a:xfrm>
            <a:off x="158759" y="1406820"/>
            <a:ext cx="2660641" cy="0"/>
          </a:xfrm>
          <a:prstGeom prst="line">
            <a:avLst/>
          </a:prstGeom>
          <a:ln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/>
          <p:cNvCxnSpPr>
            <a:cxnSpLocks/>
          </p:cNvCxnSpPr>
          <p:nvPr/>
        </p:nvCxnSpPr>
        <p:spPr>
          <a:xfrm>
            <a:off x="3454758" y="1406820"/>
            <a:ext cx="4367340" cy="0"/>
          </a:xfrm>
          <a:prstGeom prst="line">
            <a:avLst/>
          </a:prstGeom>
          <a:ln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/>
          <p:cNvCxnSpPr>
            <a:cxnSpLocks/>
          </p:cNvCxnSpPr>
          <p:nvPr/>
        </p:nvCxnSpPr>
        <p:spPr>
          <a:xfrm>
            <a:off x="8457455" y="1406820"/>
            <a:ext cx="3193195" cy="0"/>
          </a:xfrm>
          <a:prstGeom prst="line">
            <a:avLst/>
          </a:prstGeom>
          <a:ln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/>
          <p:cNvCxnSpPr>
            <a:cxnSpLocks/>
          </p:cNvCxnSpPr>
          <p:nvPr/>
        </p:nvCxnSpPr>
        <p:spPr>
          <a:xfrm>
            <a:off x="8457455" y="4928489"/>
            <a:ext cx="3193195" cy="0"/>
          </a:xfrm>
          <a:prstGeom prst="line">
            <a:avLst/>
          </a:prstGeom>
          <a:ln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3300356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81730072"/>
              </p:ext>
            </p:extLst>
          </p:nvPr>
        </p:nvGraphicFramePr>
        <p:xfrm>
          <a:off x="3113" y="2482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9898" name="think-cell Slide" r:id="rId31" imgW="524" imgH="526" progId="TCLayout.ActiveDocument.1">
                  <p:embed/>
                </p:oleObj>
              </mc:Choice>
              <mc:Fallback>
                <p:oleObj name="think-cell Slide" r:id="rId31" imgW="524" imgH="5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3113" y="2482"/>
                        <a:ext cx="1555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4DC45F88-3837-4E7C-91BC-F0ADC17BCC7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40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8" name="Rectangle 25"/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10324208" y="278529"/>
            <a:ext cx="638664" cy="211097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vert="horz" wrap="square" lIns="37331" tIns="37331" rIns="37331" bIns="37331" rtlCol="0" anchor="ctr" anchorCtr="0">
            <a:noAutofit/>
          </a:bodyPr>
          <a:lstStyle>
            <a:defPPr>
              <a:defRPr lang="en-US"/>
            </a:defPPr>
            <a:lvl1pPr lvl="0" indent="0" defTabSz="457063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Arial"/>
              <a:buNone/>
            </a:lvl1pPr>
            <a:lvl2pPr marL="0" lvl="1" indent="0" defTabSz="457063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FontTx/>
              <a:buNone/>
              <a:defRPr sz="1400" baseline="0">
                <a:solidFill>
                  <a:schemeClr val="tx2"/>
                </a:solidFill>
              </a:defRPr>
            </a:lvl2pPr>
            <a:lvl3pPr marL="228531" lvl="2" indent="-228531" defTabSz="457063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Font typeface="Lucida Grande"/>
              <a:buChar char="–"/>
              <a:defRPr sz="1400" baseline="0">
                <a:solidFill>
                  <a:schemeClr val="tx2"/>
                </a:solidFill>
              </a:defRPr>
            </a:lvl3pPr>
            <a:lvl4pPr marL="457063" lvl="3" indent="-231705" defTabSz="457063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Font typeface="Arial"/>
              <a:buChar char="•"/>
              <a:defRPr sz="1400">
                <a:solidFill>
                  <a:schemeClr val="tx2"/>
                </a:solidFill>
              </a:defRPr>
            </a:lvl4pPr>
            <a:lvl5pPr marL="685594" lvl="4" indent="-228531" defTabSz="457063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Font typeface="Lucida Grande"/>
              <a:buChar char="–"/>
              <a:defRPr sz="1400">
                <a:solidFill>
                  <a:schemeClr val="tx2"/>
                </a:solidFill>
              </a:defRPr>
            </a:lvl5pPr>
            <a:lvl6pPr marL="917300" lvl="5" indent="-228531" defTabSz="457063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Font typeface="Lucida Grande"/>
              <a:buChar char="»"/>
              <a:defRPr sz="1400" baseline="0">
                <a:solidFill>
                  <a:schemeClr val="tx2"/>
                </a:solidFill>
              </a:defRPr>
            </a:lvl6pPr>
            <a:lvl7pPr marL="1142657" lvl="6" indent="-225357" defTabSz="457063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Font typeface="Arial"/>
              <a:buChar char="•"/>
              <a:defRPr sz="1400">
                <a:solidFill>
                  <a:schemeClr val="tx2"/>
                </a:solidFill>
              </a:defRPr>
            </a:lvl7pPr>
            <a:lvl8pPr marL="3427971" indent="-228531" defTabSz="457063">
              <a:spcBef>
                <a:spcPct val="20000"/>
              </a:spcBef>
              <a:buFont typeface="Arial"/>
              <a:buChar char="•"/>
              <a:defRPr sz="1999"/>
            </a:lvl8pPr>
            <a:lvl9pPr marL="3885034" indent="-228531" defTabSz="457063">
              <a:spcBef>
                <a:spcPct val="20000"/>
              </a:spcBef>
              <a:buFont typeface="Arial"/>
              <a:buChar char="•"/>
              <a:defRPr sz="1999"/>
            </a:lvl9pPr>
          </a:lstStyle>
          <a:p>
            <a:pPr algn="ctr" fontAlgn="auto">
              <a:buClr>
                <a:srgbClr val="000000"/>
              </a:buClr>
            </a:pPr>
            <a:r>
              <a:rPr lang="en-US" sz="980" dirty="0">
                <a:solidFill>
                  <a:srgbClr val="FFFFFF"/>
                </a:solidFill>
              </a:rPr>
              <a:t>In-person</a:t>
            </a:r>
          </a:p>
        </p:txBody>
      </p:sp>
      <p:sp>
        <p:nvSpPr>
          <p:cNvPr id="99" name="Rectangle 25"/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9636430" y="278529"/>
            <a:ext cx="638664" cy="211097"/>
          </a:xfrm>
          <a:prstGeom prst="rect">
            <a:avLst/>
          </a:prstGeom>
          <a:solidFill>
            <a:schemeClr val="accent1"/>
          </a:solidFill>
          <a:ln>
            <a:solidFill>
              <a:schemeClr val="accent3">
                <a:lumMod val="20000"/>
                <a:lumOff val="80000"/>
              </a:schemeClr>
            </a:solidFill>
          </a:ln>
          <a:effec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vert="horz" wrap="square" lIns="37331" tIns="37331" rIns="37331" bIns="37331" rtlCol="0" anchor="ctr" anchorCtr="0">
            <a:spAutoFit/>
          </a:bodyPr>
          <a:lstStyle>
            <a:defPPr>
              <a:defRPr lang="en-US"/>
            </a:defPPr>
            <a:lvl1pPr lvl="0" indent="0" defTabSz="457063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Arial"/>
              <a:buNone/>
            </a:lvl1pPr>
            <a:lvl2pPr marL="0" lvl="1" indent="0" defTabSz="457063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FontTx/>
              <a:buNone/>
              <a:defRPr sz="1400" baseline="0">
                <a:solidFill>
                  <a:schemeClr val="tx2"/>
                </a:solidFill>
              </a:defRPr>
            </a:lvl2pPr>
            <a:lvl3pPr marL="228531" lvl="2" indent="-228531" defTabSz="457063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Font typeface="Lucida Grande"/>
              <a:buChar char="–"/>
              <a:defRPr sz="1400" baseline="0">
                <a:solidFill>
                  <a:schemeClr val="tx2"/>
                </a:solidFill>
              </a:defRPr>
            </a:lvl3pPr>
            <a:lvl4pPr marL="457063" lvl="3" indent="-231705" defTabSz="457063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Font typeface="Arial"/>
              <a:buChar char="•"/>
              <a:defRPr sz="1400">
                <a:solidFill>
                  <a:schemeClr val="tx2"/>
                </a:solidFill>
              </a:defRPr>
            </a:lvl4pPr>
            <a:lvl5pPr marL="685594" lvl="4" indent="-228531" defTabSz="457063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Font typeface="Lucida Grande"/>
              <a:buChar char="–"/>
              <a:defRPr sz="1400">
                <a:solidFill>
                  <a:schemeClr val="tx2"/>
                </a:solidFill>
              </a:defRPr>
            </a:lvl5pPr>
            <a:lvl6pPr marL="917300" lvl="5" indent="-228531" defTabSz="457063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Font typeface="Lucida Grande"/>
              <a:buChar char="»"/>
              <a:defRPr sz="1400" baseline="0">
                <a:solidFill>
                  <a:schemeClr val="tx2"/>
                </a:solidFill>
              </a:defRPr>
            </a:lvl6pPr>
            <a:lvl7pPr marL="1142657" lvl="6" indent="-225357" defTabSz="457063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Font typeface="Arial"/>
              <a:buChar char="•"/>
              <a:defRPr sz="1400">
                <a:solidFill>
                  <a:schemeClr val="tx2"/>
                </a:solidFill>
              </a:defRPr>
            </a:lvl7pPr>
            <a:lvl8pPr marL="3427971" indent="-228531" defTabSz="457063">
              <a:spcBef>
                <a:spcPct val="20000"/>
              </a:spcBef>
              <a:buFont typeface="Arial"/>
              <a:buChar char="•"/>
              <a:defRPr sz="1999"/>
            </a:lvl8pPr>
            <a:lvl9pPr marL="3885034" indent="-228531" defTabSz="457063">
              <a:spcBef>
                <a:spcPct val="20000"/>
              </a:spcBef>
              <a:buFont typeface="Arial"/>
              <a:buChar char="•"/>
              <a:defRPr sz="1999"/>
            </a:lvl9pPr>
          </a:lstStyle>
          <a:p>
            <a:pPr algn="ctr" fontAlgn="auto">
              <a:buClr>
                <a:srgbClr val="000000"/>
              </a:buClr>
            </a:pPr>
            <a:r>
              <a:rPr lang="en-US" sz="980" dirty="0">
                <a:solidFill>
                  <a:schemeClr val="accent4"/>
                </a:solidFill>
              </a:rPr>
              <a:t>Virtual</a:t>
            </a:r>
          </a:p>
        </p:txBody>
      </p:sp>
      <p:sp>
        <p:nvSpPr>
          <p:cNvPr id="105" name="Rectangle 25"/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11011986" y="278529"/>
            <a:ext cx="638664" cy="211097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  <a:effec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vert="horz" wrap="square" lIns="37331" tIns="37331" rIns="37331" bIns="37331" rtlCol="0" anchor="ctr" anchorCtr="0">
            <a:noAutofit/>
          </a:bodyPr>
          <a:lstStyle>
            <a:defPPr>
              <a:defRPr lang="en-US"/>
            </a:defPPr>
            <a:lvl1pPr lvl="0" indent="0" defTabSz="457063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Arial"/>
              <a:buNone/>
            </a:lvl1pPr>
            <a:lvl2pPr marL="0" lvl="1" indent="0" defTabSz="457063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FontTx/>
              <a:buNone/>
              <a:defRPr sz="1400" baseline="0">
                <a:solidFill>
                  <a:schemeClr val="tx2"/>
                </a:solidFill>
              </a:defRPr>
            </a:lvl2pPr>
            <a:lvl3pPr marL="228531" lvl="2" indent="-228531" defTabSz="457063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Font typeface="Lucida Grande"/>
              <a:buChar char="–"/>
              <a:defRPr sz="1400" baseline="0">
                <a:solidFill>
                  <a:schemeClr val="tx2"/>
                </a:solidFill>
              </a:defRPr>
            </a:lvl3pPr>
            <a:lvl4pPr marL="457063" lvl="3" indent="-231705" defTabSz="457063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Font typeface="Arial"/>
              <a:buChar char="•"/>
              <a:defRPr sz="1400">
                <a:solidFill>
                  <a:schemeClr val="tx2"/>
                </a:solidFill>
              </a:defRPr>
            </a:lvl4pPr>
            <a:lvl5pPr marL="685594" lvl="4" indent="-228531" defTabSz="457063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Font typeface="Lucida Grande"/>
              <a:buChar char="–"/>
              <a:defRPr sz="1400">
                <a:solidFill>
                  <a:schemeClr val="tx2"/>
                </a:solidFill>
              </a:defRPr>
            </a:lvl5pPr>
            <a:lvl6pPr marL="917300" lvl="5" indent="-228531" defTabSz="457063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Font typeface="Lucida Grande"/>
              <a:buChar char="»"/>
              <a:defRPr sz="1400" baseline="0">
                <a:solidFill>
                  <a:schemeClr val="tx2"/>
                </a:solidFill>
              </a:defRPr>
            </a:lvl6pPr>
            <a:lvl7pPr marL="1142657" lvl="6" indent="-225357" defTabSz="457063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Font typeface="Arial"/>
              <a:buChar char="•"/>
              <a:defRPr sz="1400">
                <a:solidFill>
                  <a:schemeClr val="tx2"/>
                </a:solidFill>
              </a:defRPr>
            </a:lvl7pPr>
            <a:lvl8pPr marL="3427971" indent="-228531" defTabSz="457063">
              <a:spcBef>
                <a:spcPct val="20000"/>
              </a:spcBef>
              <a:buFont typeface="Arial"/>
              <a:buChar char="•"/>
              <a:defRPr sz="1999"/>
            </a:lvl8pPr>
            <a:lvl9pPr marL="3885034" indent="-228531" defTabSz="457063">
              <a:spcBef>
                <a:spcPct val="20000"/>
              </a:spcBef>
              <a:buFont typeface="Arial"/>
              <a:buChar char="•"/>
              <a:defRPr sz="1999"/>
            </a:lvl9pPr>
          </a:lstStyle>
          <a:p>
            <a:pPr algn="ctr" fontAlgn="auto">
              <a:buClr>
                <a:srgbClr val="000000"/>
              </a:buClr>
            </a:pPr>
            <a:r>
              <a:rPr lang="en-US" sz="980" dirty="0">
                <a:solidFill>
                  <a:srgbClr val="FFFFFF"/>
                </a:solidFill>
              </a:rPr>
              <a:t>Field</a:t>
            </a:r>
          </a:p>
        </p:txBody>
      </p:sp>
      <p:sp>
        <p:nvSpPr>
          <p:cNvPr id="66" name="Arrow: Right 65">
            <a:extLst>
              <a:ext uri="{FF2B5EF4-FFF2-40B4-BE49-F238E27FC236}">
                <a16:creationId xmlns:a16="http://schemas.microsoft.com/office/drawing/2014/main" id="{3EEC2DD5-45BC-4BAA-8949-9DFC274D4EDE}"/>
              </a:ext>
            </a:extLst>
          </p:cNvPr>
          <p:cNvSpPr>
            <a:spLocks/>
          </p:cNvSpPr>
          <p:nvPr/>
        </p:nvSpPr>
        <p:spPr>
          <a:xfrm>
            <a:off x="1106814" y="1196161"/>
            <a:ext cx="10543836" cy="192485"/>
          </a:xfrm>
          <a:prstGeom prst="rightArrow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grpSp>
        <p:nvGrpSpPr>
          <p:cNvPr id="68" name="Group 67">
            <a:extLst>
              <a:ext uri="{FF2B5EF4-FFF2-40B4-BE49-F238E27FC236}">
                <a16:creationId xmlns:a16="http://schemas.microsoft.com/office/drawing/2014/main" id="{2C5A93B0-65F4-4053-B851-B2A18316D025}"/>
              </a:ext>
            </a:extLst>
          </p:cNvPr>
          <p:cNvGrpSpPr/>
          <p:nvPr/>
        </p:nvGrpSpPr>
        <p:grpSpPr>
          <a:xfrm>
            <a:off x="3174938" y="982942"/>
            <a:ext cx="412143" cy="618922"/>
            <a:chOff x="3214972" y="762176"/>
            <a:chExt cx="412143" cy="618922"/>
          </a:xfrm>
        </p:grpSpPr>
        <p:sp>
          <p:nvSpPr>
            <p:cNvPr id="159" name="Freeform 354"/>
            <p:cNvSpPr>
              <a:spLocks noEditPoints="1"/>
            </p:cNvSpPr>
            <p:nvPr/>
          </p:nvSpPr>
          <p:spPr bwMode="auto">
            <a:xfrm>
              <a:off x="3214972" y="762176"/>
              <a:ext cx="412143" cy="618922"/>
            </a:xfrm>
            <a:custGeom>
              <a:avLst/>
              <a:gdLst>
                <a:gd name="T0" fmla="*/ 291 w 291"/>
                <a:gd name="T1" fmla="*/ 145 h 437"/>
                <a:gd name="T2" fmla="*/ 287 w 291"/>
                <a:gd name="T3" fmla="*/ 116 h 437"/>
                <a:gd name="T4" fmla="*/ 279 w 291"/>
                <a:gd name="T5" fmla="*/ 89 h 437"/>
                <a:gd name="T6" fmla="*/ 265 w 291"/>
                <a:gd name="T7" fmla="*/ 64 h 437"/>
                <a:gd name="T8" fmla="*/ 248 w 291"/>
                <a:gd name="T9" fmla="*/ 43 h 437"/>
                <a:gd name="T10" fmla="*/ 227 w 291"/>
                <a:gd name="T11" fmla="*/ 25 h 437"/>
                <a:gd name="T12" fmla="*/ 201 w 291"/>
                <a:gd name="T13" fmla="*/ 11 h 437"/>
                <a:gd name="T14" fmla="*/ 174 w 291"/>
                <a:gd name="T15" fmla="*/ 3 h 437"/>
                <a:gd name="T16" fmla="*/ 145 w 291"/>
                <a:gd name="T17" fmla="*/ 0 h 437"/>
                <a:gd name="T18" fmla="*/ 116 w 291"/>
                <a:gd name="T19" fmla="*/ 3 h 437"/>
                <a:gd name="T20" fmla="*/ 88 w 291"/>
                <a:gd name="T21" fmla="*/ 11 h 437"/>
                <a:gd name="T22" fmla="*/ 64 w 291"/>
                <a:gd name="T23" fmla="*/ 25 h 437"/>
                <a:gd name="T24" fmla="*/ 43 w 291"/>
                <a:gd name="T25" fmla="*/ 43 h 437"/>
                <a:gd name="T26" fmla="*/ 25 w 291"/>
                <a:gd name="T27" fmla="*/ 64 h 437"/>
                <a:gd name="T28" fmla="*/ 11 w 291"/>
                <a:gd name="T29" fmla="*/ 89 h 437"/>
                <a:gd name="T30" fmla="*/ 3 w 291"/>
                <a:gd name="T31" fmla="*/ 116 h 437"/>
                <a:gd name="T32" fmla="*/ 0 w 291"/>
                <a:gd name="T33" fmla="*/ 145 h 437"/>
                <a:gd name="T34" fmla="*/ 3 w 291"/>
                <a:gd name="T35" fmla="*/ 174 h 437"/>
                <a:gd name="T36" fmla="*/ 11 w 291"/>
                <a:gd name="T37" fmla="*/ 201 h 437"/>
                <a:gd name="T38" fmla="*/ 24 w 291"/>
                <a:gd name="T39" fmla="*/ 227 h 437"/>
                <a:gd name="T40" fmla="*/ 24 w 291"/>
                <a:gd name="T41" fmla="*/ 227 h 437"/>
                <a:gd name="T42" fmla="*/ 145 w 291"/>
                <a:gd name="T43" fmla="*/ 437 h 437"/>
                <a:gd name="T44" fmla="*/ 266 w 291"/>
                <a:gd name="T45" fmla="*/ 227 h 437"/>
                <a:gd name="T46" fmla="*/ 265 w 291"/>
                <a:gd name="T47" fmla="*/ 227 h 437"/>
                <a:gd name="T48" fmla="*/ 279 w 291"/>
                <a:gd name="T49" fmla="*/ 201 h 437"/>
                <a:gd name="T50" fmla="*/ 287 w 291"/>
                <a:gd name="T51" fmla="*/ 174 h 437"/>
                <a:gd name="T52" fmla="*/ 291 w 291"/>
                <a:gd name="T53" fmla="*/ 145 h 437"/>
                <a:gd name="T54" fmla="*/ 145 w 291"/>
                <a:gd name="T55" fmla="*/ 237 h 437"/>
                <a:gd name="T56" fmla="*/ 121 w 291"/>
                <a:gd name="T57" fmla="*/ 234 h 437"/>
                <a:gd name="T58" fmla="*/ 97 w 291"/>
                <a:gd name="T59" fmla="*/ 225 h 437"/>
                <a:gd name="T60" fmla="*/ 79 w 291"/>
                <a:gd name="T61" fmla="*/ 209 h 437"/>
                <a:gd name="T62" fmla="*/ 65 w 291"/>
                <a:gd name="T63" fmla="*/ 191 h 437"/>
                <a:gd name="T64" fmla="*/ 56 w 291"/>
                <a:gd name="T65" fmla="*/ 169 h 437"/>
                <a:gd name="T66" fmla="*/ 52 w 291"/>
                <a:gd name="T67" fmla="*/ 144 h 437"/>
                <a:gd name="T68" fmla="*/ 56 w 291"/>
                <a:gd name="T69" fmla="*/ 119 h 437"/>
                <a:gd name="T70" fmla="*/ 65 w 291"/>
                <a:gd name="T71" fmla="*/ 96 h 437"/>
                <a:gd name="T72" fmla="*/ 79 w 291"/>
                <a:gd name="T73" fmla="*/ 78 h 437"/>
                <a:gd name="T74" fmla="*/ 97 w 291"/>
                <a:gd name="T75" fmla="*/ 63 h 437"/>
                <a:gd name="T76" fmla="*/ 121 w 291"/>
                <a:gd name="T77" fmla="*/ 53 h 437"/>
                <a:gd name="T78" fmla="*/ 145 w 291"/>
                <a:gd name="T79" fmla="*/ 50 h 437"/>
                <a:gd name="T80" fmla="*/ 170 w 291"/>
                <a:gd name="T81" fmla="*/ 53 h 437"/>
                <a:gd name="T82" fmla="*/ 192 w 291"/>
                <a:gd name="T83" fmla="*/ 63 h 437"/>
                <a:gd name="T84" fmla="*/ 212 w 291"/>
                <a:gd name="T85" fmla="*/ 78 h 437"/>
                <a:gd name="T86" fmla="*/ 226 w 291"/>
                <a:gd name="T87" fmla="*/ 96 h 437"/>
                <a:gd name="T88" fmla="*/ 235 w 291"/>
                <a:gd name="T89" fmla="*/ 119 h 437"/>
                <a:gd name="T90" fmla="*/ 238 w 291"/>
                <a:gd name="T91" fmla="*/ 144 h 437"/>
                <a:gd name="T92" fmla="*/ 235 w 291"/>
                <a:gd name="T93" fmla="*/ 169 h 437"/>
                <a:gd name="T94" fmla="*/ 226 w 291"/>
                <a:gd name="T95" fmla="*/ 191 h 437"/>
                <a:gd name="T96" fmla="*/ 212 w 291"/>
                <a:gd name="T97" fmla="*/ 209 h 437"/>
                <a:gd name="T98" fmla="*/ 192 w 291"/>
                <a:gd name="T99" fmla="*/ 225 h 437"/>
                <a:gd name="T100" fmla="*/ 170 w 291"/>
                <a:gd name="T101" fmla="*/ 234 h 437"/>
                <a:gd name="T102" fmla="*/ 145 w 291"/>
                <a:gd name="T103" fmla="*/ 237 h 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91" h="437">
                  <a:moveTo>
                    <a:pt x="291" y="145"/>
                  </a:moveTo>
                  <a:lnTo>
                    <a:pt x="287" y="116"/>
                  </a:lnTo>
                  <a:lnTo>
                    <a:pt x="279" y="89"/>
                  </a:lnTo>
                  <a:lnTo>
                    <a:pt x="265" y="64"/>
                  </a:lnTo>
                  <a:lnTo>
                    <a:pt x="248" y="43"/>
                  </a:lnTo>
                  <a:lnTo>
                    <a:pt x="227" y="25"/>
                  </a:lnTo>
                  <a:lnTo>
                    <a:pt x="201" y="11"/>
                  </a:lnTo>
                  <a:lnTo>
                    <a:pt x="174" y="3"/>
                  </a:lnTo>
                  <a:lnTo>
                    <a:pt x="145" y="0"/>
                  </a:lnTo>
                  <a:lnTo>
                    <a:pt x="116" y="3"/>
                  </a:lnTo>
                  <a:lnTo>
                    <a:pt x="88" y="11"/>
                  </a:lnTo>
                  <a:lnTo>
                    <a:pt x="64" y="25"/>
                  </a:lnTo>
                  <a:lnTo>
                    <a:pt x="43" y="43"/>
                  </a:lnTo>
                  <a:lnTo>
                    <a:pt x="25" y="64"/>
                  </a:lnTo>
                  <a:lnTo>
                    <a:pt x="11" y="89"/>
                  </a:lnTo>
                  <a:lnTo>
                    <a:pt x="3" y="116"/>
                  </a:lnTo>
                  <a:lnTo>
                    <a:pt x="0" y="145"/>
                  </a:lnTo>
                  <a:lnTo>
                    <a:pt x="3" y="174"/>
                  </a:lnTo>
                  <a:lnTo>
                    <a:pt x="11" y="201"/>
                  </a:lnTo>
                  <a:lnTo>
                    <a:pt x="24" y="227"/>
                  </a:lnTo>
                  <a:lnTo>
                    <a:pt x="24" y="227"/>
                  </a:lnTo>
                  <a:lnTo>
                    <a:pt x="145" y="437"/>
                  </a:lnTo>
                  <a:lnTo>
                    <a:pt x="266" y="227"/>
                  </a:lnTo>
                  <a:lnTo>
                    <a:pt x="265" y="227"/>
                  </a:lnTo>
                  <a:lnTo>
                    <a:pt x="279" y="201"/>
                  </a:lnTo>
                  <a:lnTo>
                    <a:pt x="287" y="174"/>
                  </a:lnTo>
                  <a:lnTo>
                    <a:pt x="291" y="145"/>
                  </a:lnTo>
                  <a:close/>
                  <a:moveTo>
                    <a:pt x="145" y="237"/>
                  </a:moveTo>
                  <a:lnTo>
                    <a:pt x="121" y="234"/>
                  </a:lnTo>
                  <a:lnTo>
                    <a:pt x="97" y="225"/>
                  </a:lnTo>
                  <a:lnTo>
                    <a:pt x="79" y="209"/>
                  </a:lnTo>
                  <a:lnTo>
                    <a:pt x="65" y="191"/>
                  </a:lnTo>
                  <a:lnTo>
                    <a:pt x="56" y="169"/>
                  </a:lnTo>
                  <a:lnTo>
                    <a:pt x="52" y="144"/>
                  </a:lnTo>
                  <a:lnTo>
                    <a:pt x="56" y="119"/>
                  </a:lnTo>
                  <a:lnTo>
                    <a:pt x="65" y="96"/>
                  </a:lnTo>
                  <a:lnTo>
                    <a:pt x="79" y="78"/>
                  </a:lnTo>
                  <a:lnTo>
                    <a:pt x="97" y="63"/>
                  </a:lnTo>
                  <a:lnTo>
                    <a:pt x="121" y="53"/>
                  </a:lnTo>
                  <a:lnTo>
                    <a:pt x="145" y="50"/>
                  </a:lnTo>
                  <a:lnTo>
                    <a:pt x="170" y="53"/>
                  </a:lnTo>
                  <a:lnTo>
                    <a:pt x="192" y="63"/>
                  </a:lnTo>
                  <a:lnTo>
                    <a:pt x="212" y="78"/>
                  </a:lnTo>
                  <a:lnTo>
                    <a:pt x="226" y="96"/>
                  </a:lnTo>
                  <a:lnTo>
                    <a:pt x="235" y="119"/>
                  </a:lnTo>
                  <a:lnTo>
                    <a:pt x="238" y="144"/>
                  </a:lnTo>
                  <a:lnTo>
                    <a:pt x="235" y="169"/>
                  </a:lnTo>
                  <a:lnTo>
                    <a:pt x="226" y="191"/>
                  </a:lnTo>
                  <a:lnTo>
                    <a:pt x="212" y="209"/>
                  </a:lnTo>
                  <a:lnTo>
                    <a:pt x="192" y="225"/>
                  </a:lnTo>
                  <a:lnTo>
                    <a:pt x="170" y="234"/>
                  </a:lnTo>
                  <a:lnTo>
                    <a:pt x="145" y="237"/>
                  </a:lnTo>
                  <a:close/>
                </a:path>
              </a:pathLst>
            </a:custGeom>
            <a:solidFill>
              <a:schemeClr val="tx2"/>
            </a:solidFill>
            <a:ln w="285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89618" tIns="44809" rIns="89618" bIns="44809" numCol="1" anchor="t" anchorCtr="0" compatLnSpc="1">
              <a:prstTxWarp prst="textNoShape">
                <a:avLst/>
              </a:prstTxWarp>
            </a:bodyPr>
            <a:lstStyle/>
            <a:p>
              <a:endParaRPr lang="en-US" sz="1568" dirty="0"/>
            </a:p>
          </p:txBody>
        </p:sp>
        <p:sp>
          <p:nvSpPr>
            <p:cNvPr id="4" name="Oval 3"/>
            <p:cNvSpPr>
              <a:spLocks/>
            </p:cNvSpPr>
            <p:nvPr/>
          </p:nvSpPr>
          <p:spPr>
            <a:xfrm>
              <a:off x="3249230" y="790129"/>
              <a:ext cx="343627" cy="343713"/>
            </a:xfrm>
            <a:prstGeom prst="ellipse">
              <a:avLst/>
            </a:prstGeom>
            <a:solidFill>
              <a:schemeClr val="tx2"/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r>
                <a:rPr lang="en-US" sz="2352" dirty="0">
                  <a:solidFill>
                    <a:srgbClr val="FFFFFF"/>
                  </a:solidFill>
                </a:rPr>
                <a:t>2</a:t>
              </a:r>
            </a:p>
          </p:txBody>
        </p:sp>
      </p:grpSp>
      <p:grpSp>
        <p:nvGrpSpPr>
          <p:cNvPr id="67" name="Group 66">
            <a:extLst>
              <a:ext uri="{FF2B5EF4-FFF2-40B4-BE49-F238E27FC236}">
                <a16:creationId xmlns:a16="http://schemas.microsoft.com/office/drawing/2014/main" id="{62E7A8B5-802A-4917-BECD-2FE05CC41BF3}"/>
              </a:ext>
            </a:extLst>
          </p:cNvPr>
          <p:cNvGrpSpPr/>
          <p:nvPr/>
        </p:nvGrpSpPr>
        <p:grpSpPr>
          <a:xfrm>
            <a:off x="1615860" y="982942"/>
            <a:ext cx="412143" cy="618922"/>
            <a:chOff x="1746801" y="762176"/>
            <a:chExt cx="412143" cy="618922"/>
          </a:xfrm>
        </p:grpSpPr>
        <p:sp>
          <p:nvSpPr>
            <p:cNvPr id="158" name="Freeform 354"/>
            <p:cNvSpPr>
              <a:spLocks noEditPoints="1"/>
            </p:cNvSpPr>
            <p:nvPr/>
          </p:nvSpPr>
          <p:spPr bwMode="auto">
            <a:xfrm>
              <a:off x="1746801" y="762176"/>
              <a:ext cx="412143" cy="618922"/>
            </a:xfrm>
            <a:custGeom>
              <a:avLst/>
              <a:gdLst>
                <a:gd name="T0" fmla="*/ 291 w 291"/>
                <a:gd name="T1" fmla="*/ 145 h 437"/>
                <a:gd name="T2" fmla="*/ 287 w 291"/>
                <a:gd name="T3" fmla="*/ 116 h 437"/>
                <a:gd name="T4" fmla="*/ 279 w 291"/>
                <a:gd name="T5" fmla="*/ 89 h 437"/>
                <a:gd name="T6" fmla="*/ 265 w 291"/>
                <a:gd name="T7" fmla="*/ 64 h 437"/>
                <a:gd name="T8" fmla="*/ 248 w 291"/>
                <a:gd name="T9" fmla="*/ 43 h 437"/>
                <a:gd name="T10" fmla="*/ 227 w 291"/>
                <a:gd name="T11" fmla="*/ 25 h 437"/>
                <a:gd name="T12" fmla="*/ 201 w 291"/>
                <a:gd name="T13" fmla="*/ 11 h 437"/>
                <a:gd name="T14" fmla="*/ 174 w 291"/>
                <a:gd name="T15" fmla="*/ 3 h 437"/>
                <a:gd name="T16" fmla="*/ 145 w 291"/>
                <a:gd name="T17" fmla="*/ 0 h 437"/>
                <a:gd name="T18" fmla="*/ 116 w 291"/>
                <a:gd name="T19" fmla="*/ 3 h 437"/>
                <a:gd name="T20" fmla="*/ 88 w 291"/>
                <a:gd name="T21" fmla="*/ 11 h 437"/>
                <a:gd name="T22" fmla="*/ 64 w 291"/>
                <a:gd name="T23" fmla="*/ 25 h 437"/>
                <a:gd name="T24" fmla="*/ 43 w 291"/>
                <a:gd name="T25" fmla="*/ 43 h 437"/>
                <a:gd name="T26" fmla="*/ 25 w 291"/>
                <a:gd name="T27" fmla="*/ 64 h 437"/>
                <a:gd name="T28" fmla="*/ 11 w 291"/>
                <a:gd name="T29" fmla="*/ 89 h 437"/>
                <a:gd name="T30" fmla="*/ 3 w 291"/>
                <a:gd name="T31" fmla="*/ 116 h 437"/>
                <a:gd name="T32" fmla="*/ 0 w 291"/>
                <a:gd name="T33" fmla="*/ 145 h 437"/>
                <a:gd name="T34" fmla="*/ 3 w 291"/>
                <a:gd name="T35" fmla="*/ 174 h 437"/>
                <a:gd name="T36" fmla="*/ 11 w 291"/>
                <a:gd name="T37" fmla="*/ 201 h 437"/>
                <a:gd name="T38" fmla="*/ 24 w 291"/>
                <a:gd name="T39" fmla="*/ 227 h 437"/>
                <a:gd name="T40" fmla="*/ 24 w 291"/>
                <a:gd name="T41" fmla="*/ 227 h 437"/>
                <a:gd name="T42" fmla="*/ 145 w 291"/>
                <a:gd name="T43" fmla="*/ 437 h 437"/>
                <a:gd name="T44" fmla="*/ 266 w 291"/>
                <a:gd name="T45" fmla="*/ 227 h 437"/>
                <a:gd name="T46" fmla="*/ 265 w 291"/>
                <a:gd name="T47" fmla="*/ 227 h 437"/>
                <a:gd name="T48" fmla="*/ 279 w 291"/>
                <a:gd name="T49" fmla="*/ 201 h 437"/>
                <a:gd name="T50" fmla="*/ 287 w 291"/>
                <a:gd name="T51" fmla="*/ 174 h 437"/>
                <a:gd name="T52" fmla="*/ 291 w 291"/>
                <a:gd name="T53" fmla="*/ 145 h 437"/>
                <a:gd name="T54" fmla="*/ 145 w 291"/>
                <a:gd name="T55" fmla="*/ 237 h 437"/>
                <a:gd name="T56" fmla="*/ 121 w 291"/>
                <a:gd name="T57" fmla="*/ 234 h 437"/>
                <a:gd name="T58" fmla="*/ 97 w 291"/>
                <a:gd name="T59" fmla="*/ 225 h 437"/>
                <a:gd name="T60" fmla="*/ 79 w 291"/>
                <a:gd name="T61" fmla="*/ 209 h 437"/>
                <a:gd name="T62" fmla="*/ 65 w 291"/>
                <a:gd name="T63" fmla="*/ 191 h 437"/>
                <a:gd name="T64" fmla="*/ 56 w 291"/>
                <a:gd name="T65" fmla="*/ 169 h 437"/>
                <a:gd name="T66" fmla="*/ 52 w 291"/>
                <a:gd name="T67" fmla="*/ 144 h 437"/>
                <a:gd name="T68" fmla="*/ 56 w 291"/>
                <a:gd name="T69" fmla="*/ 119 h 437"/>
                <a:gd name="T70" fmla="*/ 65 w 291"/>
                <a:gd name="T71" fmla="*/ 96 h 437"/>
                <a:gd name="T72" fmla="*/ 79 w 291"/>
                <a:gd name="T73" fmla="*/ 78 h 437"/>
                <a:gd name="T74" fmla="*/ 97 w 291"/>
                <a:gd name="T75" fmla="*/ 63 h 437"/>
                <a:gd name="T76" fmla="*/ 121 w 291"/>
                <a:gd name="T77" fmla="*/ 53 h 437"/>
                <a:gd name="T78" fmla="*/ 145 w 291"/>
                <a:gd name="T79" fmla="*/ 50 h 437"/>
                <a:gd name="T80" fmla="*/ 170 w 291"/>
                <a:gd name="T81" fmla="*/ 53 h 437"/>
                <a:gd name="T82" fmla="*/ 192 w 291"/>
                <a:gd name="T83" fmla="*/ 63 h 437"/>
                <a:gd name="T84" fmla="*/ 212 w 291"/>
                <a:gd name="T85" fmla="*/ 78 h 437"/>
                <a:gd name="T86" fmla="*/ 226 w 291"/>
                <a:gd name="T87" fmla="*/ 96 h 437"/>
                <a:gd name="T88" fmla="*/ 235 w 291"/>
                <a:gd name="T89" fmla="*/ 119 h 437"/>
                <a:gd name="T90" fmla="*/ 238 w 291"/>
                <a:gd name="T91" fmla="*/ 144 h 437"/>
                <a:gd name="T92" fmla="*/ 235 w 291"/>
                <a:gd name="T93" fmla="*/ 169 h 437"/>
                <a:gd name="T94" fmla="*/ 226 w 291"/>
                <a:gd name="T95" fmla="*/ 191 h 437"/>
                <a:gd name="T96" fmla="*/ 212 w 291"/>
                <a:gd name="T97" fmla="*/ 209 h 437"/>
                <a:gd name="T98" fmla="*/ 192 w 291"/>
                <a:gd name="T99" fmla="*/ 225 h 437"/>
                <a:gd name="T100" fmla="*/ 170 w 291"/>
                <a:gd name="T101" fmla="*/ 234 h 437"/>
                <a:gd name="T102" fmla="*/ 145 w 291"/>
                <a:gd name="T103" fmla="*/ 237 h 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91" h="437">
                  <a:moveTo>
                    <a:pt x="291" y="145"/>
                  </a:moveTo>
                  <a:lnTo>
                    <a:pt x="287" y="116"/>
                  </a:lnTo>
                  <a:lnTo>
                    <a:pt x="279" y="89"/>
                  </a:lnTo>
                  <a:lnTo>
                    <a:pt x="265" y="64"/>
                  </a:lnTo>
                  <a:lnTo>
                    <a:pt x="248" y="43"/>
                  </a:lnTo>
                  <a:lnTo>
                    <a:pt x="227" y="25"/>
                  </a:lnTo>
                  <a:lnTo>
                    <a:pt x="201" y="11"/>
                  </a:lnTo>
                  <a:lnTo>
                    <a:pt x="174" y="3"/>
                  </a:lnTo>
                  <a:lnTo>
                    <a:pt x="145" y="0"/>
                  </a:lnTo>
                  <a:lnTo>
                    <a:pt x="116" y="3"/>
                  </a:lnTo>
                  <a:lnTo>
                    <a:pt x="88" y="11"/>
                  </a:lnTo>
                  <a:lnTo>
                    <a:pt x="64" y="25"/>
                  </a:lnTo>
                  <a:lnTo>
                    <a:pt x="43" y="43"/>
                  </a:lnTo>
                  <a:lnTo>
                    <a:pt x="25" y="64"/>
                  </a:lnTo>
                  <a:lnTo>
                    <a:pt x="11" y="89"/>
                  </a:lnTo>
                  <a:lnTo>
                    <a:pt x="3" y="116"/>
                  </a:lnTo>
                  <a:lnTo>
                    <a:pt x="0" y="145"/>
                  </a:lnTo>
                  <a:lnTo>
                    <a:pt x="3" y="174"/>
                  </a:lnTo>
                  <a:lnTo>
                    <a:pt x="11" y="201"/>
                  </a:lnTo>
                  <a:lnTo>
                    <a:pt x="24" y="227"/>
                  </a:lnTo>
                  <a:lnTo>
                    <a:pt x="24" y="227"/>
                  </a:lnTo>
                  <a:lnTo>
                    <a:pt x="145" y="437"/>
                  </a:lnTo>
                  <a:lnTo>
                    <a:pt x="266" y="227"/>
                  </a:lnTo>
                  <a:lnTo>
                    <a:pt x="265" y="227"/>
                  </a:lnTo>
                  <a:lnTo>
                    <a:pt x="279" y="201"/>
                  </a:lnTo>
                  <a:lnTo>
                    <a:pt x="287" y="174"/>
                  </a:lnTo>
                  <a:lnTo>
                    <a:pt x="291" y="145"/>
                  </a:lnTo>
                  <a:close/>
                  <a:moveTo>
                    <a:pt x="145" y="237"/>
                  </a:moveTo>
                  <a:lnTo>
                    <a:pt x="121" y="234"/>
                  </a:lnTo>
                  <a:lnTo>
                    <a:pt x="97" y="225"/>
                  </a:lnTo>
                  <a:lnTo>
                    <a:pt x="79" y="209"/>
                  </a:lnTo>
                  <a:lnTo>
                    <a:pt x="65" y="191"/>
                  </a:lnTo>
                  <a:lnTo>
                    <a:pt x="56" y="169"/>
                  </a:lnTo>
                  <a:lnTo>
                    <a:pt x="52" y="144"/>
                  </a:lnTo>
                  <a:lnTo>
                    <a:pt x="56" y="119"/>
                  </a:lnTo>
                  <a:lnTo>
                    <a:pt x="65" y="96"/>
                  </a:lnTo>
                  <a:lnTo>
                    <a:pt x="79" y="78"/>
                  </a:lnTo>
                  <a:lnTo>
                    <a:pt x="97" y="63"/>
                  </a:lnTo>
                  <a:lnTo>
                    <a:pt x="121" y="53"/>
                  </a:lnTo>
                  <a:lnTo>
                    <a:pt x="145" y="50"/>
                  </a:lnTo>
                  <a:lnTo>
                    <a:pt x="170" y="53"/>
                  </a:lnTo>
                  <a:lnTo>
                    <a:pt x="192" y="63"/>
                  </a:lnTo>
                  <a:lnTo>
                    <a:pt x="212" y="78"/>
                  </a:lnTo>
                  <a:lnTo>
                    <a:pt x="226" y="96"/>
                  </a:lnTo>
                  <a:lnTo>
                    <a:pt x="235" y="119"/>
                  </a:lnTo>
                  <a:lnTo>
                    <a:pt x="238" y="144"/>
                  </a:lnTo>
                  <a:lnTo>
                    <a:pt x="235" y="169"/>
                  </a:lnTo>
                  <a:lnTo>
                    <a:pt x="226" y="191"/>
                  </a:lnTo>
                  <a:lnTo>
                    <a:pt x="212" y="209"/>
                  </a:lnTo>
                  <a:lnTo>
                    <a:pt x="192" y="225"/>
                  </a:lnTo>
                  <a:lnTo>
                    <a:pt x="170" y="234"/>
                  </a:lnTo>
                  <a:lnTo>
                    <a:pt x="145" y="237"/>
                  </a:lnTo>
                  <a:close/>
                </a:path>
              </a:pathLst>
            </a:custGeom>
            <a:solidFill>
              <a:schemeClr val="tx2"/>
            </a:solidFill>
            <a:ln w="285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89618" tIns="44809" rIns="89618" bIns="44809" numCol="1" anchor="t" anchorCtr="0" compatLnSpc="1">
              <a:prstTxWarp prst="textNoShape">
                <a:avLst/>
              </a:prstTxWarp>
            </a:bodyPr>
            <a:lstStyle/>
            <a:p>
              <a:endParaRPr lang="en-US" sz="1568" dirty="0"/>
            </a:p>
          </p:txBody>
        </p:sp>
        <p:sp>
          <p:nvSpPr>
            <p:cNvPr id="86" name="Oval 85"/>
            <p:cNvSpPr>
              <a:spLocks/>
            </p:cNvSpPr>
            <p:nvPr/>
          </p:nvSpPr>
          <p:spPr>
            <a:xfrm>
              <a:off x="1781059" y="790129"/>
              <a:ext cx="343627" cy="343713"/>
            </a:xfrm>
            <a:prstGeom prst="ellipse">
              <a:avLst/>
            </a:prstGeom>
            <a:solidFill>
              <a:schemeClr val="tx2"/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352" dirty="0">
                  <a:solidFill>
                    <a:srgbClr val="FFFFFF"/>
                  </a:solidFill>
                </a:rPr>
                <a:t>1</a:t>
              </a:r>
            </a:p>
          </p:txBody>
        </p:sp>
      </p:grpSp>
      <p:grpSp>
        <p:nvGrpSpPr>
          <p:cNvPr id="69" name="Group 68">
            <a:extLst>
              <a:ext uri="{FF2B5EF4-FFF2-40B4-BE49-F238E27FC236}">
                <a16:creationId xmlns:a16="http://schemas.microsoft.com/office/drawing/2014/main" id="{77B65C68-FFD0-40AF-9DCF-695DA84C2620}"/>
              </a:ext>
            </a:extLst>
          </p:cNvPr>
          <p:cNvGrpSpPr/>
          <p:nvPr/>
        </p:nvGrpSpPr>
        <p:grpSpPr>
          <a:xfrm>
            <a:off x="4728659" y="982942"/>
            <a:ext cx="412143" cy="618922"/>
            <a:chOff x="4683144" y="762176"/>
            <a:chExt cx="412143" cy="618922"/>
          </a:xfrm>
        </p:grpSpPr>
        <p:sp>
          <p:nvSpPr>
            <p:cNvPr id="160" name="Freeform 354"/>
            <p:cNvSpPr>
              <a:spLocks noEditPoints="1"/>
            </p:cNvSpPr>
            <p:nvPr/>
          </p:nvSpPr>
          <p:spPr bwMode="auto">
            <a:xfrm>
              <a:off x="4683144" y="762176"/>
              <a:ext cx="412143" cy="618922"/>
            </a:xfrm>
            <a:custGeom>
              <a:avLst/>
              <a:gdLst>
                <a:gd name="T0" fmla="*/ 291 w 291"/>
                <a:gd name="T1" fmla="*/ 145 h 437"/>
                <a:gd name="T2" fmla="*/ 287 w 291"/>
                <a:gd name="T3" fmla="*/ 116 h 437"/>
                <a:gd name="T4" fmla="*/ 279 w 291"/>
                <a:gd name="T5" fmla="*/ 89 h 437"/>
                <a:gd name="T6" fmla="*/ 265 w 291"/>
                <a:gd name="T7" fmla="*/ 64 h 437"/>
                <a:gd name="T8" fmla="*/ 248 w 291"/>
                <a:gd name="T9" fmla="*/ 43 h 437"/>
                <a:gd name="T10" fmla="*/ 227 w 291"/>
                <a:gd name="T11" fmla="*/ 25 h 437"/>
                <a:gd name="T12" fmla="*/ 201 w 291"/>
                <a:gd name="T13" fmla="*/ 11 h 437"/>
                <a:gd name="T14" fmla="*/ 174 w 291"/>
                <a:gd name="T15" fmla="*/ 3 h 437"/>
                <a:gd name="T16" fmla="*/ 145 w 291"/>
                <a:gd name="T17" fmla="*/ 0 h 437"/>
                <a:gd name="T18" fmla="*/ 116 w 291"/>
                <a:gd name="T19" fmla="*/ 3 h 437"/>
                <a:gd name="T20" fmla="*/ 88 w 291"/>
                <a:gd name="T21" fmla="*/ 11 h 437"/>
                <a:gd name="T22" fmla="*/ 64 w 291"/>
                <a:gd name="T23" fmla="*/ 25 h 437"/>
                <a:gd name="T24" fmla="*/ 43 w 291"/>
                <a:gd name="T25" fmla="*/ 43 h 437"/>
                <a:gd name="T26" fmla="*/ 25 w 291"/>
                <a:gd name="T27" fmla="*/ 64 h 437"/>
                <a:gd name="T28" fmla="*/ 11 w 291"/>
                <a:gd name="T29" fmla="*/ 89 h 437"/>
                <a:gd name="T30" fmla="*/ 3 w 291"/>
                <a:gd name="T31" fmla="*/ 116 h 437"/>
                <a:gd name="T32" fmla="*/ 0 w 291"/>
                <a:gd name="T33" fmla="*/ 145 h 437"/>
                <a:gd name="T34" fmla="*/ 3 w 291"/>
                <a:gd name="T35" fmla="*/ 174 h 437"/>
                <a:gd name="T36" fmla="*/ 11 w 291"/>
                <a:gd name="T37" fmla="*/ 201 h 437"/>
                <a:gd name="T38" fmla="*/ 24 w 291"/>
                <a:gd name="T39" fmla="*/ 227 h 437"/>
                <a:gd name="T40" fmla="*/ 24 w 291"/>
                <a:gd name="T41" fmla="*/ 227 h 437"/>
                <a:gd name="T42" fmla="*/ 145 w 291"/>
                <a:gd name="T43" fmla="*/ 437 h 437"/>
                <a:gd name="T44" fmla="*/ 266 w 291"/>
                <a:gd name="T45" fmla="*/ 227 h 437"/>
                <a:gd name="T46" fmla="*/ 265 w 291"/>
                <a:gd name="T47" fmla="*/ 227 h 437"/>
                <a:gd name="T48" fmla="*/ 279 w 291"/>
                <a:gd name="T49" fmla="*/ 201 h 437"/>
                <a:gd name="T50" fmla="*/ 287 w 291"/>
                <a:gd name="T51" fmla="*/ 174 h 437"/>
                <a:gd name="T52" fmla="*/ 291 w 291"/>
                <a:gd name="T53" fmla="*/ 145 h 437"/>
                <a:gd name="T54" fmla="*/ 145 w 291"/>
                <a:gd name="T55" fmla="*/ 237 h 437"/>
                <a:gd name="T56" fmla="*/ 121 w 291"/>
                <a:gd name="T57" fmla="*/ 234 h 437"/>
                <a:gd name="T58" fmla="*/ 97 w 291"/>
                <a:gd name="T59" fmla="*/ 225 h 437"/>
                <a:gd name="T60" fmla="*/ 79 w 291"/>
                <a:gd name="T61" fmla="*/ 209 h 437"/>
                <a:gd name="T62" fmla="*/ 65 w 291"/>
                <a:gd name="T63" fmla="*/ 191 h 437"/>
                <a:gd name="T64" fmla="*/ 56 w 291"/>
                <a:gd name="T65" fmla="*/ 169 h 437"/>
                <a:gd name="T66" fmla="*/ 52 w 291"/>
                <a:gd name="T67" fmla="*/ 144 h 437"/>
                <a:gd name="T68" fmla="*/ 56 w 291"/>
                <a:gd name="T69" fmla="*/ 119 h 437"/>
                <a:gd name="T70" fmla="*/ 65 w 291"/>
                <a:gd name="T71" fmla="*/ 96 h 437"/>
                <a:gd name="T72" fmla="*/ 79 w 291"/>
                <a:gd name="T73" fmla="*/ 78 h 437"/>
                <a:gd name="T74" fmla="*/ 97 w 291"/>
                <a:gd name="T75" fmla="*/ 63 h 437"/>
                <a:gd name="T76" fmla="*/ 121 w 291"/>
                <a:gd name="T77" fmla="*/ 53 h 437"/>
                <a:gd name="T78" fmla="*/ 145 w 291"/>
                <a:gd name="T79" fmla="*/ 50 h 437"/>
                <a:gd name="T80" fmla="*/ 170 w 291"/>
                <a:gd name="T81" fmla="*/ 53 h 437"/>
                <a:gd name="T82" fmla="*/ 192 w 291"/>
                <a:gd name="T83" fmla="*/ 63 h 437"/>
                <a:gd name="T84" fmla="*/ 212 w 291"/>
                <a:gd name="T85" fmla="*/ 78 h 437"/>
                <a:gd name="T86" fmla="*/ 226 w 291"/>
                <a:gd name="T87" fmla="*/ 96 h 437"/>
                <a:gd name="T88" fmla="*/ 235 w 291"/>
                <a:gd name="T89" fmla="*/ 119 h 437"/>
                <a:gd name="T90" fmla="*/ 238 w 291"/>
                <a:gd name="T91" fmla="*/ 144 h 437"/>
                <a:gd name="T92" fmla="*/ 235 w 291"/>
                <a:gd name="T93" fmla="*/ 169 h 437"/>
                <a:gd name="T94" fmla="*/ 226 w 291"/>
                <a:gd name="T95" fmla="*/ 191 h 437"/>
                <a:gd name="T96" fmla="*/ 212 w 291"/>
                <a:gd name="T97" fmla="*/ 209 h 437"/>
                <a:gd name="T98" fmla="*/ 192 w 291"/>
                <a:gd name="T99" fmla="*/ 225 h 437"/>
                <a:gd name="T100" fmla="*/ 170 w 291"/>
                <a:gd name="T101" fmla="*/ 234 h 437"/>
                <a:gd name="T102" fmla="*/ 145 w 291"/>
                <a:gd name="T103" fmla="*/ 237 h 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91" h="437">
                  <a:moveTo>
                    <a:pt x="291" y="145"/>
                  </a:moveTo>
                  <a:lnTo>
                    <a:pt x="287" y="116"/>
                  </a:lnTo>
                  <a:lnTo>
                    <a:pt x="279" y="89"/>
                  </a:lnTo>
                  <a:lnTo>
                    <a:pt x="265" y="64"/>
                  </a:lnTo>
                  <a:lnTo>
                    <a:pt x="248" y="43"/>
                  </a:lnTo>
                  <a:lnTo>
                    <a:pt x="227" y="25"/>
                  </a:lnTo>
                  <a:lnTo>
                    <a:pt x="201" y="11"/>
                  </a:lnTo>
                  <a:lnTo>
                    <a:pt x="174" y="3"/>
                  </a:lnTo>
                  <a:lnTo>
                    <a:pt x="145" y="0"/>
                  </a:lnTo>
                  <a:lnTo>
                    <a:pt x="116" y="3"/>
                  </a:lnTo>
                  <a:lnTo>
                    <a:pt x="88" y="11"/>
                  </a:lnTo>
                  <a:lnTo>
                    <a:pt x="64" y="25"/>
                  </a:lnTo>
                  <a:lnTo>
                    <a:pt x="43" y="43"/>
                  </a:lnTo>
                  <a:lnTo>
                    <a:pt x="25" y="64"/>
                  </a:lnTo>
                  <a:lnTo>
                    <a:pt x="11" y="89"/>
                  </a:lnTo>
                  <a:lnTo>
                    <a:pt x="3" y="116"/>
                  </a:lnTo>
                  <a:lnTo>
                    <a:pt x="0" y="145"/>
                  </a:lnTo>
                  <a:lnTo>
                    <a:pt x="3" y="174"/>
                  </a:lnTo>
                  <a:lnTo>
                    <a:pt x="11" y="201"/>
                  </a:lnTo>
                  <a:lnTo>
                    <a:pt x="24" y="227"/>
                  </a:lnTo>
                  <a:lnTo>
                    <a:pt x="24" y="227"/>
                  </a:lnTo>
                  <a:lnTo>
                    <a:pt x="145" y="437"/>
                  </a:lnTo>
                  <a:lnTo>
                    <a:pt x="266" y="227"/>
                  </a:lnTo>
                  <a:lnTo>
                    <a:pt x="265" y="227"/>
                  </a:lnTo>
                  <a:lnTo>
                    <a:pt x="279" y="201"/>
                  </a:lnTo>
                  <a:lnTo>
                    <a:pt x="287" y="174"/>
                  </a:lnTo>
                  <a:lnTo>
                    <a:pt x="291" y="145"/>
                  </a:lnTo>
                  <a:close/>
                  <a:moveTo>
                    <a:pt x="145" y="237"/>
                  </a:moveTo>
                  <a:lnTo>
                    <a:pt x="121" y="234"/>
                  </a:lnTo>
                  <a:lnTo>
                    <a:pt x="97" y="225"/>
                  </a:lnTo>
                  <a:lnTo>
                    <a:pt x="79" y="209"/>
                  </a:lnTo>
                  <a:lnTo>
                    <a:pt x="65" y="191"/>
                  </a:lnTo>
                  <a:lnTo>
                    <a:pt x="56" y="169"/>
                  </a:lnTo>
                  <a:lnTo>
                    <a:pt x="52" y="144"/>
                  </a:lnTo>
                  <a:lnTo>
                    <a:pt x="56" y="119"/>
                  </a:lnTo>
                  <a:lnTo>
                    <a:pt x="65" y="96"/>
                  </a:lnTo>
                  <a:lnTo>
                    <a:pt x="79" y="78"/>
                  </a:lnTo>
                  <a:lnTo>
                    <a:pt x="97" y="63"/>
                  </a:lnTo>
                  <a:lnTo>
                    <a:pt x="121" y="53"/>
                  </a:lnTo>
                  <a:lnTo>
                    <a:pt x="145" y="50"/>
                  </a:lnTo>
                  <a:lnTo>
                    <a:pt x="170" y="53"/>
                  </a:lnTo>
                  <a:lnTo>
                    <a:pt x="192" y="63"/>
                  </a:lnTo>
                  <a:lnTo>
                    <a:pt x="212" y="78"/>
                  </a:lnTo>
                  <a:lnTo>
                    <a:pt x="226" y="96"/>
                  </a:lnTo>
                  <a:lnTo>
                    <a:pt x="235" y="119"/>
                  </a:lnTo>
                  <a:lnTo>
                    <a:pt x="238" y="144"/>
                  </a:lnTo>
                  <a:lnTo>
                    <a:pt x="235" y="169"/>
                  </a:lnTo>
                  <a:lnTo>
                    <a:pt x="226" y="191"/>
                  </a:lnTo>
                  <a:lnTo>
                    <a:pt x="212" y="209"/>
                  </a:lnTo>
                  <a:lnTo>
                    <a:pt x="192" y="225"/>
                  </a:lnTo>
                  <a:lnTo>
                    <a:pt x="170" y="234"/>
                  </a:lnTo>
                  <a:lnTo>
                    <a:pt x="145" y="237"/>
                  </a:lnTo>
                  <a:close/>
                </a:path>
              </a:pathLst>
            </a:custGeom>
            <a:solidFill>
              <a:schemeClr val="tx2"/>
            </a:solidFill>
            <a:ln w="285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89618" tIns="44809" rIns="89618" bIns="44809" numCol="1" anchor="t" anchorCtr="0" compatLnSpc="1">
              <a:prstTxWarp prst="textNoShape">
                <a:avLst/>
              </a:prstTxWarp>
            </a:bodyPr>
            <a:lstStyle/>
            <a:p>
              <a:endParaRPr lang="en-US" sz="1568" dirty="0"/>
            </a:p>
          </p:txBody>
        </p:sp>
        <p:sp>
          <p:nvSpPr>
            <p:cNvPr id="87" name="Oval 86"/>
            <p:cNvSpPr>
              <a:spLocks/>
            </p:cNvSpPr>
            <p:nvPr/>
          </p:nvSpPr>
          <p:spPr>
            <a:xfrm>
              <a:off x="4717402" y="790129"/>
              <a:ext cx="343627" cy="343713"/>
            </a:xfrm>
            <a:prstGeom prst="ellipse">
              <a:avLst/>
            </a:prstGeom>
            <a:solidFill>
              <a:schemeClr val="tx2"/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r>
                <a:rPr lang="en-US" sz="2352" dirty="0">
                  <a:solidFill>
                    <a:srgbClr val="FFFFFF"/>
                  </a:solidFill>
                </a:rPr>
                <a:t>3</a:t>
              </a:r>
            </a:p>
          </p:txBody>
        </p:sp>
      </p:grpSp>
      <p:grpSp>
        <p:nvGrpSpPr>
          <p:cNvPr id="70" name="Group 69">
            <a:extLst>
              <a:ext uri="{FF2B5EF4-FFF2-40B4-BE49-F238E27FC236}">
                <a16:creationId xmlns:a16="http://schemas.microsoft.com/office/drawing/2014/main" id="{A87601E7-DBBA-415F-8E03-CCC7DB0B773B}"/>
              </a:ext>
            </a:extLst>
          </p:cNvPr>
          <p:cNvGrpSpPr/>
          <p:nvPr/>
        </p:nvGrpSpPr>
        <p:grpSpPr>
          <a:xfrm>
            <a:off x="6224843" y="982942"/>
            <a:ext cx="412143" cy="618922"/>
            <a:chOff x="6151316" y="762176"/>
            <a:chExt cx="412143" cy="618922"/>
          </a:xfrm>
        </p:grpSpPr>
        <p:sp>
          <p:nvSpPr>
            <p:cNvPr id="161" name="Freeform 354"/>
            <p:cNvSpPr>
              <a:spLocks noEditPoints="1"/>
            </p:cNvSpPr>
            <p:nvPr/>
          </p:nvSpPr>
          <p:spPr bwMode="auto">
            <a:xfrm>
              <a:off x="6151316" y="762176"/>
              <a:ext cx="412143" cy="618922"/>
            </a:xfrm>
            <a:custGeom>
              <a:avLst/>
              <a:gdLst>
                <a:gd name="T0" fmla="*/ 291 w 291"/>
                <a:gd name="T1" fmla="*/ 145 h 437"/>
                <a:gd name="T2" fmla="*/ 287 w 291"/>
                <a:gd name="T3" fmla="*/ 116 h 437"/>
                <a:gd name="T4" fmla="*/ 279 w 291"/>
                <a:gd name="T5" fmla="*/ 89 h 437"/>
                <a:gd name="T6" fmla="*/ 265 w 291"/>
                <a:gd name="T7" fmla="*/ 64 h 437"/>
                <a:gd name="T8" fmla="*/ 248 w 291"/>
                <a:gd name="T9" fmla="*/ 43 h 437"/>
                <a:gd name="T10" fmla="*/ 227 w 291"/>
                <a:gd name="T11" fmla="*/ 25 h 437"/>
                <a:gd name="T12" fmla="*/ 201 w 291"/>
                <a:gd name="T13" fmla="*/ 11 h 437"/>
                <a:gd name="T14" fmla="*/ 174 w 291"/>
                <a:gd name="T15" fmla="*/ 3 h 437"/>
                <a:gd name="T16" fmla="*/ 145 w 291"/>
                <a:gd name="T17" fmla="*/ 0 h 437"/>
                <a:gd name="T18" fmla="*/ 116 w 291"/>
                <a:gd name="T19" fmla="*/ 3 h 437"/>
                <a:gd name="T20" fmla="*/ 88 w 291"/>
                <a:gd name="T21" fmla="*/ 11 h 437"/>
                <a:gd name="T22" fmla="*/ 64 w 291"/>
                <a:gd name="T23" fmla="*/ 25 h 437"/>
                <a:gd name="T24" fmla="*/ 43 w 291"/>
                <a:gd name="T25" fmla="*/ 43 h 437"/>
                <a:gd name="T26" fmla="*/ 25 w 291"/>
                <a:gd name="T27" fmla="*/ 64 h 437"/>
                <a:gd name="T28" fmla="*/ 11 w 291"/>
                <a:gd name="T29" fmla="*/ 89 h 437"/>
                <a:gd name="T30" fmla="*/ 3 w 291"/>
                <a:gd name="T31" fmla="*/ 116 h 437"/>
                <a:gd name="T32" fmla="*/ 0 w 291"/>
                <a:gd name="T33" fmla="*/ 145 h 437"/>
                <a:gd name="T34" fmla="*/ 3 w 291"/>
                <a:gd name="T35" fmla="*/ 174 h 437"/>
                <a:gd name="T36" fmla="*/ 11 w 291"/>
                <a:gd name="T37" fmla="*/ 201 h 437"/>
                <a:gd name="T38" fmla="*/ 24 w 291"/>
                <a:gd name="T39" fmla="*/ 227 h 437"/>
                <a:gd name="T40" fmla="*/ 24 w 291"/>
                <a:gd name="T41" fmla="*/ 227 h 437"/>
                <a:gd name="T42" fmla="*/ 145 w 291"/>
                <a:gd name="T43" fmla="*/ 437 h 437"/>
                <a:gd name="T44" fmla="*/ 266 w 291"/>
                <a:gd name="T45" fmla="*/ 227 h 437"/>
                <a:gd name="T46" fmla="*/ 265 w 291"/>
                <a:gd name="T47" fmla="*/ 227 h 437"/>
                <a:gd name="T48" fmla="*/ 279 w 291"/>
                <a:gd name="T49" fmla="*/ 201 h 437"/>
                <a:gd name="T50" fmla="*/ 287 w 291"/>
                <a:gd name="T51" fmla="*/ 174 h 437"/>
                <a:gd name="T52" fmla="*/ 291 w 291"/>
                <a:gd name="T53" fmla="*/ 145 h 437"/>
                <a:gd name="T54" fmla="*/ 145 w 291"/>
                <a:gd name="T55" fmla="*/ 237 h 437"/>
                <a:gd name="T56" fmla="*/ 121 w 291"/>
                <a:gd name="T57" fmla="*/ 234 h 437"/>
                <a:gd name="T58" fmla="*/ 97 w 291"/>
                <a:gd name="T59" fmla="*/ 225 h 437"/>
                <a:gd name="T60" fmla="*/ 79 w 291"/>
                <a:gd name="T61" fmla="*/ 209 h 437"/>
                <a:gd name="T62" fmla="*/ 65 w 291"/>
                <a:gd name="T63" fmla="*/ 191 h 437"/>
                <a:gd name="T64" fmla="*/ 56 w 291"/>
                <a:gd name="T65" fmla="*/ 169 h 437"/>
                <a:gd name="T66" fmla="*/ 52 w 291"/>
                <a:gd name="T67" fmla="*/ 144 h 437"/>
                <a:gd name="T68" fmla="*/ 56 w 291"/>
                <a:gd name="T69" fmla="*/ 119 h 437"/>
                <a:gd name="T70" fmla="*/ 65 w 291"/>
                <a:gd name="T71" fmla="*/ 96 h 437"/>
                <a:gd name="T72" fmla="*/ 79 w 291"/>
                <a:gd name="T73" fmla="*/ 78 h 437"/>
                <a:gd name="T74" fmla="*/ 97 w 291"/>
                <a:gd name="T75" fmla="*/ 63 h 437"/>
                <a:gd name="T76" fmla="*/ 121 w 291"/>
                <a:gd name="T77" fmla="*/ 53 h 437"/>
                <a:gd name="T78" fmla="*/ 145 w 291"/>
                <a:gd name="T79" fmla="*/ 50 h 437"/>
                <a:gd name="T80" fmla="*/ 170 w 291"/>
                <a:gd name="T81" fmla="*/ 53 h 437"/>
                <a:gd name="T82" fmla="*/ 192 w 291"/>
                <a:gd name="T83" fmla="*/ 63 h 437"/>
                <a:gd name="T84" fmla="*/ 212 w 291"/>
                <a:gd name="T85" fmla="*/ 78 h 437"/>
                <a:gd name="T86" fmla="*/ 226 w 291"/>
                <a:gd name="T87" fmla="*/ 96 h 437"/>
                <a:gd name="T88" fmla="*/ 235 w 291"/>
                <a:gd name="T89" fmla="*/ 119 h 437"/>
                <a:gd name="T90" fmla="*/ 238 w 291"/>
                <a:gd name="T91" fmla="*/ 144 h 437"/>
                <a:gd name="T92" fmla="*/ 235 w 291"/>
                <a:gd name="T93" fmla="*/ 169 h 437"/>
                <a:gd name="T94" fmla="*/ 226 w 291"/>
                <a:gd name="T95" fmla="*/ 191 h 437"/>
                <a:gd name="T96" fmla="*/ 212 w 291"/>
                <a:gd name="T97" fmla="*/ 209 h 437"/>
                <a:gd name="T98" fmla="*/ 192 w 291"/>
                <a:gd name="T99" fmla="*/ 225 h 437"/>
                <a:gd name="T100" fmla="*/ 170 w 291"/>
                <a:gd name="T101" fmla="*/ 234 h 437"/>
                <a:gd name="T102" fmla="*/ 145 w 291"/>
                <a:gd name="T103" fmla="*/ 237 h 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91" h="437">
                  <a:moveTo>
                    <a:pt x="291" y="145"/>
                  </a:moveTo>
                  <a:lnTo>
                    <a:pt x="287" y="116"/>
                  </a:lnTo>
                  <a:lnTo>
                    <a:pt x="279" y="89"/>
                  </a:lnTo>
                  <a:lnTo>
                    <a:pt x="265" y="64"/>
                  </a:lnTo>
                  <a:lnTo>
                    <a:pt x="248" y="43"/>
                  </a:lnTo>
                  <a:lnTo>
                    <a:pt x="227" y="25"/>
                  </a:lnTo>
                  <a:lnTo>
                    <a:pt x="201" y="11"/>
                  </a:lnTo>
                  <a:lnTo>
                    <a:pt x="174" y="3"/>
                  </a:lnTo>
                  <a:lnTo>
                    <a:pt x="145" y="0"/>
                  </a:lnTo>
                  <a:lnTo>
                    <a:pt x="116" y="3"/>
                  </a:lnTo>
                  <a:lnTo>
                    <a:pt x="88" y="11"/>
                  </a:lnTo>
                  <a:lnTo>
                    <a:pt x="64" y="25"/>
                  </a:lnTo>
                  <a:lnTo>
                    <a:pt x="43" y="43"/>
                  </a:lnTo>
                  <a:lnTo>
                    <a:pt x="25" y="64"/>
                  </a:lnTo>
                  <a:lnTo>
                    <a:pt x="11" y="89"/>
                  </a:lnTo>
                  <a:lnTo>
                    <a:pt x="3" y="116"/>
                  </a:lnTo>
                  <a:lnTo>
                    <a:pt x="0" y="145"/>
                  </a:lnTo>
                  <a:lnTo>
                    <a:pt x="3" y="174"/>
                  </a:lnTo>
                  <a:lnTo>
                    <a:pt x="11" y="201"/>
                  </a:lnTo>
                  <a:lnTo>
                    <a:pt x="24" y="227"/>
                  </a:lnTo>
                  <a:lnTo>
                    <a:pt x="24" y="227"/>
                  </a:lnTo>
                  <a:lnTo>
                    <a:pt x="145" y="437"/>
                  </a:lnTo>
                  <a:lnTo>
                    <a:pt x="266" y="227"/>
                  </a:lnTo>
                  <a:lnTo>
                    <a:pt x="265" y="227"/>
                  </a:lnTo>
                  <a:lnTo>
                    <a:pt x="279" y="201"/>
                  </a:lnTo>
                  <a:lnTo>
                    <a:pt x="287" y="174"/>
                  </a:lnTo>
                  <a:lnTo>
                    <a:pt x="291" y="145"/>
                  </a:lnTo>
                  <a:close/>
                  <a:moveTo>
                    <a:pt x="145" y="237"/>
                  </a:moveTo>
                  <a:lnTo>
                    <a:pt x="121" y="234"/>
                  </a:lnTo>
                  <a:lnTo>
                    <a:pt x="97" y="225"/>
                  </a:lnTo>
                  <a:lnTo>
                    <a:pt x="79" y="209"/>
                  </a:lnTo>
                  <a:lnTo>
                    <a:pt x="65" y="191"/>
                  </a:lnTo>
                  <a:lnTo>
                    <a:pt x="56" y="169"/>
                  </a:lnTo>
                  <a:lnTo>
                    <a:pt x="52" y="144"/>
                  </a:lnTo>
                  <a:lnTo>
                    <a:pt x="56" y="119"/>
                  </a:lnTo>
                  <a:lnTo>
                    <a:pt x="65" y="96"/>
                  </a:lnTo>
                  <a:lnTo>
                    <a:pt x="79" y="78"/>
                  </a:lnTo>
                  <a:lnTo>
                    <a:pt x="97" y="63"/>
                  </a:lnTo>
                  <a:lnTo>
                    <a:pt x="121" y="53"/>
                  </a:lnTo>
                  <a:lnTo>
                    <a:pt x="145" y="50"/>
                  </a:lnTo>
                  <a:lnTo>
                    <a:pt x="170" y="53"/>
                  </a:lnTo>
                  <a:lnTo>
                    <a:pt x="192" y="63"/>
                  </a:lnTo>
                  <a:lnTo>
                    <a:pt x="212" y="78"/>
                  </a:lnTo>
                  <a:lnTo>
                    <a:pt x="226" y="96"/>
                  </a:lnTo>
                  <a:lnTo>
                    <a:pt x="235" y="119"/>
                  </a:lnTo>
                  <a:lnTo>
                    <a:pt x="238" y="144"/>
                  </a:lnTo>
                  <a:lnTo>
                    <a:pt x="235" y="169"/>
                  </a:lnTo>
                  <a:lnTo>
                    <a:pt x="226" y="191"/>
                  </a:lnTo>
                  <a:lnTo>
                    <a:pt x="212" y="209"/>
                  </a:lnTo>
                  <a:lnTo>
                    <a:pt x="192" y="225"/>
                  </a:lnTo>
                  <a:lnTo>
                    <a:pt x="170" y="234"/>
                  </a:lnTo>
                  <a:lnTo>
                    <a:pt x="145" y="237"/>
                  </a:lnTo>
                  <a:close/>
                </a:path>
              </a:pathLst>
            </a:custGeom>
            <a:solidFill>
              <a:schemeClr val="tx2"/>
            </a:solidFill>
            <a:ln w="285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89618" tIns="44809" rIns="89618" bIns="44809" numCol="1" anchor="t" anchorCtr="0" compatLnSpc="1">
              <a:prstTxWarp prst="textNoShape">
                <a:avLst/>
              </a:prstTxWarp>
            </a:bodyPr>
            <a:lstStyle/>
            <a:p>
              <a:endParaRPr lang="en-US" sz="1568" dirty="0"/>
            </a:p>
          </p:txBody>
        </p:sp>
        <p:sp>
          <p:nvSpPr>
            <p:cNvPr id="91" name="Oval 90"/>
            <p:cNvSpPr>
              <a:spLocks/>
            </p:cNvSpPr>
            <p:nvPr/>
          </p:nvSpPr>
          <p:spPr>
            <a:xfrm>
              <a:off x="6185574" y="790129"/>
              <a:ext cx="343627" cy="343713"/>
            </a:xfrm>
            <a:prstGeom prst="ellipse">
              <a:avLst/>
            </a:prstGeom>
            <a:solidFill>
              <a:schemeClr val="tx2"/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r>
                <a:rPr lang="en-US" sz="2352" dirty="0">
                  <a:solidFill>
                    <a:srgbClr val="FFFFFF"/>
                  </a:solidFill>
                </a:rPr>
                <a:t>4</a:t>
              </a:r>
            </a:p>
          </p:txBody>
        </p:sp>
      </p:grpSp>
      <p:grpSp>
        <p:nvGrpSpPr>
          <p:cNvPr id="71" name="Group 70">
            <a:extLst>
              <a:ext uri="{FF2B5EF4-FFF2-40B4-BE49-F238E27FC236}">
                <a16:creationId xmlns:a16="http://schemas.microsoft.com/office/drawing/2014/main" id="{619F07E3-CE8D-4576-83F3-AEA71C7C6338}"/>
              </a:ext>
            </a:extLst>
          </p:cNvPr>
          <p:cNvGrpSpPr/>
          <p:nvPr/>
        </p:nvGrpSpPr>
        <p:grpSpPr>
          <a:xfrm>
            <a:off x="7723704" y="982942"/>
            <a:ext cx="412143" cy="618922"/>
            <a:chOff x="7619487" y="762176"/>
            <a:chExt cx="412143" cy="618922"/>
          </a:xfrm>
        </p:grpSpPr>
        <p:sp>
          <p:nvSpPr>
            <p:cNvPr id="162" name="Freeform 354"/>
            <p:cNvSpPr>
              <a:spLocks noEditPoints="1"/>
            </p:cNvSpPr>
            <p:nvPr/>
          </p:nvSpPr>
          <p:spPr bwMode="auto">
            <a:xfrm>
              <a:off x="7619487" y="762176"/>
              <a:ext cx="412143" cy="618922"/>
            </a:xfrm>
            <a:custGeom>
              <a:avLst/>
              <a:gdLst>
                <a:gd name="T0" fmla="*/ 291 w 291"/>
                <a:gd name="T1" fmla="*/ 145 h 437"/>
                <a:gd name="T2" fmla="*/ 287 w 291"/>
                <a:gd name="T3" fmla="*/ 116 h 437"/>
                <a:gd name="T4" fmla="*/ 279 w 291"/>
                <a:gd name="T5" fmla="*/ 89 h 437"/>
                <a:gd name="T6" fmla="*/ 265 w 291"/>
                <a:gd name="T7" fmla="*/ 64 h 437"/>
                <a:gd name="T8" fmla="*/ 248 w 291"/>
                <a:gd name="T9" fmla="*/ 43 h 437"/>
                <a:gd name="T10" fmla="*/ 227 w 291"/>
                <a:gd name="T11" fmla="*/ 25 h 437"/>
                <a:gd name="T12" fmla="*/ 201 w 291"/>
                <a:gd name="T13" fmla="*/ 11 h 437"/>
                <a:gd name="T14" fmla="*/ 174 w 291"/>
                <a:gd name="T15" fmla="*/ 3 h 437"/>
                <a:gd name="T16" fmla="*/ 145 w 291"/>
                <a:gd name="T17" fmla="*/ 0 h 437"/>
                <a:gd name="T18" fmla="*/ 116 w 291"/>
                <a:gd name="T19" fmla="*/ 3 h 437"/>
                <a:gd name="T20" fmla="*/ 88 w 291"/>
                <a:gd name="T21" fmla="*/ 11 h 437"/>
                <a:gd name="T22" fmla="*/ 64 w 291"/>
                <a:gd name="T23" fmla="*/ 25 h 437"/>
                <a:gd name="T24" fmla="*/ 43 w 291"/>
                <a:gd name="T25" fmla="*/ 43 h 437"/>
                <a:gd name="T26" fmla="*/ 25 w 291"/>
                <a:gd name="T27" fmla="*/ 64 h 437"/>
                <a:gd name="T28" fmla="*/ 11 w 291"/>
                <a:gd name="T29" fmla="*/ 89 h 437"/>
                <a:gd name="T30" fmla="*/ 3 w 291"/>
                <a:gd name="T31" fmla="*/ 116 h 437"/>
                <a:gd name="T32" fmla="*/ 0 w 291"/>
                <a:gd name="T33" fmla="*/ 145 h 437"/>
                <a:gd name="T34" fmla="*/ 3 w 291"/>
                <a:gd name="T35" fmla="*/ 174 h 437"/>
                <a:gd name="T36" fmla="*/ 11 w 291"/>
                <a:gd name="T37" fmla="*/ 201 h 437"/>
                <a:gd name="T38" fmla="*/ 24 w 291"/>
                <a:gd name="T39" fmla="*/ 227 h 437"/>
                <a:gd name="T40" fmla="*/ 24 w 291"/>
                <a:gd name="T41" fmla="*/ 227 h 437"/>
                <a:gd name="T42" fmla="*/ 145 w 291"/>
                <a:gd name="T43" fmla="*/ 437 h 437"/>
                <a:gd name="T44" fmla="*/ 266 w 291"/>
                <a:gd name="T45" fmla="*/ 227 h 437"/>
                <a:gd name="T46" fmla="*/ 265 w 291"/>
                <a:gd name="T47" fmla="*/ 227 h 437"/>
                <a:gd name="T48" fmla="*/ 279 w 291"/>
                <a:gd name="T49" fmla="*/ 201 h 437"/>
                <a:gd name="T50" fmla="*/ 287 w 291"/>
                <a:gd name="T51" fmla="*/ 174 h 437"/>
                <a:gd name="T52" fmla="*/ 291 w 291"/>
                <a:gd name="T53" fmla="*/ 145 h 437"/>
                <a:gd name="T54" fmla="*/ 145 w 291"/>
                <a:gd name="T55" fmla="*/ 237 h 437"/>
                <a:gd name="T56" fmla="*/ 121 w 291"/>
                <a:gd name="T57" fmla="*/ 234 h 437"/>
                <a:gd name="T58" fmla="*/ 97 w 291"/>
                <a:gd name="T59" fmla="*/ 225 h 437"/>
                <a:gd name="T60" fmla="*/ 79 w 291"/>
                <a:gd name="T61" fmla="*/ 209 h 437"/>
                <a:gd name="T62" fmla="*/ 65 w 291"/>
                <a:gd name="T63" fmla="*/ 191 h 437"/>
                <a:gd name="T64" fmla="*/ 56 w 291"/>
                <a:gd name="T65" fmla="*/ 169 h 437"/>
                <a:gd name="T66" fmla="*/ 52 w 291"/>
                <a:gd name="T67" fmla="*/ 144 h 437"/>
                <a:gd name="T68" fmla="*/ 56 w 291"/>
                <a:gd name="T69" fmla="*/ 119 h 437"/>
                <a:gd name="T70" fmla="*/ 65 w 291"/>
                <a:gd name="T71" fmla="*/ 96 h 437"/>
                <a:gd name="T72" fmla="*/ 79 w 291"/>
                <a:gd name="T73" fmla="*/ 78 h 437"/>
                <a:gd name="T74" fmla="*/ 97 w 291"/>
                <a:gd name="T75" fmla="*/ 63 h 437"/>
                <a:gd name="T76" fmla="*/ 121 w 291"/>
                <a:gd name="T77" fmla="*/ 53 h 437"/>
                <a:gd name="T78" fmla="*/ 145 w 291"/>
                <a:gd name="T79" fmla="*/ 50 h 437"/>
                <a:gd name="T80" fmla="*/ 170 w 291"/>
                <a:gd name="T81" fmla="*/ 53 h 437"/>
                <a:gd name="T82" fmla="*/ 192 w 291"/>
                <a:gd name="T83" fmla="*/ 63 h 437"/>
                <a:gd name="T84" fmla="*/ 212 w 291"/>
                <a:gd name="T85" fmla="*/ 78 h 437"/>
                <a:gd name="T86" fmla="*/ 226 w 291"/>
                <a:gd name="T87" fmla="*/ 96 h 437"/>
                <a:gd name="T88" fmla="*/ 235 w 291"/>
                <a:gd name="T89" fmla="*/ 119 h 437"/>
                <a:gd name="T90" fmla="*/ 238 w 291"/>
                <a:gd name="T91" fmla="*/ 144 h 437"/>
                <a:gd name="T92" fmla="*/ 235 w 291"/>
                <a:gd name="T93" fmla="*/ 169 h 437"/>
                <a:gd name="T94" fmla="*/ 226 w 291"/>
                <a:gd name="T95" fmla="*/ 191 h 437"/>
                <a:gd name="T96" fmla="*/ 212 w 291"/>
                <a:gd name="T97" fmla="*/ 209 h 437"/>
                <a:gd name="T98" fmla="*/ 192 w 291"/>
                <a:gd name="T99" fmla="*/ 225 h 437"/>
                <a:gd name="T100" fmla="*/ 170 w 291"/>
                <a:gd name="T101" fmla="*/ 234 h 437"/>
                <a:gd name="T102" fmla="*/ 145 w 291"/>
                <a:gd name="T103" fmla="*/ 237 h 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91" h="437">
                  <a:moveTo>
                    <a:pt x="291" y="145"/>
                  </a:moveTo>
                  <a:lnTo>
                    <a:pt x="287" y="116"/>
                  </a:lnTo>
                  <a:lnTo>
                    <a:pt x="279" y="89"/>
                  </a:lnTo>
                  <a:lnTo>
                    <a:pt x="265" y="64"/>
                  </a:lnTo>
                  <a:lnTo>
                    <a:pt x="248" y="43"/>
                  </a:lnTo>
                  <a:lnTo>
                    <a:pt x="227" y="25"/>
                  </a:lnTo>
                  <a:lnTo>
                    <a:pt x="201" y="11"/>
                  </a:lnTo>
                  <a:lnTo>
                    <a:pt x="174" y="3"/>
                  </a:lnTo>
                  <a:lnTo>
                    <a:pt x="145" y="0"/>
                  </a:lnTo>
                  <a:lnTo>
                    <a:pt x="116" y="3"/>
                  </a:lnTo>
                  <a:lnTo>
                    <a:pt x="88" y="11"/>
                  </a:lnTo>
                  <a:lnTo>
                    <a:pt x="64" y="25"/>
                  </a:lnTo>
                  <a:lnTo>
                    <a:pt x="43" y="43"/>
                  </a:lnTo>
                  <a:lnTo>
                    <a:pt x="25" y="64"/>
                  </a:lnTo>
                  <a:lnTo>
                    <a:pt x="11" y="89"/>
                  </a:lnTo>
                  <a:lnTo>
                    <a:pt x="3" y="116"/>
                  </a:lnTo>
                  <a:lnTo>
                    <a:pt x="0" y="145"/>
                  </a:lnTo>
                  <a:lnTo>
                    <a:pt x="3" y="174"/>
                  </a:lnTo>
                  <a:lnTo>
                    <a:pt x="11" y="201"/>
                  </a:lnTo>
                  <a:lnTo>
                    <a:pt x="24" y="227"/>
                  </a:lnTo>
                  <a:lnTo>
                    <a:pt x="24" y="227"/>
                  </a:lnTo>
                  <a:lnTo>
                    <a:pt x="145" y="437"/>
                  </a:lnTo>
                  <a:lnTo>
                    <a:pt x="266" y="227"/>
                  </a:lnTo>
                  <a:lnTo>
                    <a:pt x="265" y="227"/>
                  </a:lnTo>
                  <a:lnTo>
                    <a:pt x="279" y="201"/>
                  </a:lnTo>
                  <a:lnTo>
                    <a:pt x="287" y="174"/>
                  </a:lnTo>
                  <a:lnTo>
                    <a:pt x="291" y="145"/>
                  </a:lnTo>
                  <a:close/>
                  <a:moveTo>
                    <a:pt x="145" y="237"/>
                  </a:moveTo>
                  <a:lnTo>
                    <a:pt x="121" y="234"/>
                  </a:lnTo>
                  <a:lnTo>
                    <a:pt x="97" y="225"/>
                  </a:lnTo>
                  <a:lnTo>
                    <a:pt x="79" y="209"/>
                  </a:lnTo>
                  <a:lnTo>
                    <a:pt x="65" y="191"/>
                  </a:lnTo>
                  <a:lnTo>
                    <a:pt x="56" y="169"/>
                  </a:lnTo>
                  <a:lnTo>
                    <a:pt x="52" y="144"/>
                  </a:lnTo>
                  <a:lnTo>
                    <a:pt x="56" y="119"/>
                  </a:lnTo>
                  <a:lnTo>
                    <a:pt x="65" y="96"/>
                  </a:lnTo>
                  <a:lnTo>
                    <a:pt x="79" y="78"/>
                  </a:lnTo>
                  <a:lnTo>
                    <a:pt x="97" y="63"/>
                  </a:lnTo>
                  <a:lnTo>
                    <a:pt x="121" y="53"/>
                  </a:lnTo>
                  <a:lnTo>
                    <a:pt x="145" y="50"/>
                  </a:lnTo>
                  <a:lnTo>
                    <a:pt x="170" y="53"/>
                  </a:lnTo>
                  <a:lnTo>
                    <a:pt x="192" y="63"/>
                  </a:lnTo>
                  <a:lnTo>
                    <a:pt x="212" y="78"/>
                  </a:lnTo>
                  <a:lnTo>
                    <a:pt x="226" y="96"/>
                  </a:lnTo>
                  <a:lnTo>
                    <a:pt x="235" y="119"/>
                  </a:lnTo>
                  <a:lnTo>
                    <a:pt x="238" y="144"/>
                  </a:lnTo>
                  <a:lnTo>
                    <a:pt x="235" y="169"/>
                  </a:lnTo>
                  <a:lnTo>
                    <a:pt x="226" y="191"/>
                  </a:lnTo>
                  <a:lnTo>
                    <a:pt x="212" y="209"/>
                  </a:lnTo>
                  <a:lnTo>
                    <a:pt x="192" y="225"/>
                  </a:lnTo>
                  <a:lnTo>
                    <a:pt x="170" y="234"/>
                  </a:lnTo>
                  <a:lnTo>
                    <a:pt x="145" y="237"/>
                  </a:lnTo>
                  <a:close/>
                </a:path>
              </a:pathLst>
            </a:custGeom>
            <a:solidFill>
              <a:schemeClr val="tx2"/>
            </a:solidFill>
            <a:ln w="285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89618" tIns="44809" rIns="89618" bIns="44809" numCol="1" anchor="t" anchorCtr="0" compatLnSpc="1">
              <a:prstTxWarp prst="textNoShape">
                <a:avLst/>
              </a:prstTxWarp>
            </a:bodyPr>
            <a:lstStyle/>
            <a:p>
              <a:endParaRPr lang="en-US" sz="1568" dirty="0"/>
            </a:p>
          </p:txBody>
        </p:sp>
        <p:sp>
          <p:nvSpPr>
            <p:cNvPr id="92" name="Oval 91"/>
            <p:cNvSpPr>
              <a:spLocks/>
            </p:cNvSpPr>
            <p:nvPr/>
          </p:nvSpPr>
          <p:spPr>
            <a:xfrm>
              <a:off x="7653745" y="790129"/>
              <a:ext cx="343627" cy="343713"/>
            </a:xfrm>
            <a:prstGeom prst="ellipse">
              <a:avLst/>
            </a:prstGeom>
            <a:solidFill>
              <a:schemeClr val="tx2"/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r>
                <a:rPr lang="en-US" sz="2352" dirty="0">
                  <a:solidFill>
                    <a:srgbClr val="FFFFFF"/>
                  </a:solidFill>
                </a:rPr>
                <a:t>5</a:t>
              </a:r>
            </a:p>
          </p:txBody>
        </p:sp>
      </p:grpSp>
      <p:grpSp>
        <p:nvGrpSpPr>
          <p:cNvPr id="72" name="Group 71">
            <a:extLst>
              <a:ext uri="{FF2B5EF4-FFF2-40B4-BE49-F238E27FC236}">
                <a16:creationId xmlns:a16="http://schemas.microsoft.com/office/drawing/2014/main" id="{5FA94D52-DF56-44BE-84A2-DF0CB014D3A6}"/>
              </a:ext>
            </a:extLst>
          </p:cNvPr>
          <p:cNvGrpSpPr/>
          <p:nvPr/>
        </p:nvGrpSpPr>
        <p:grpSpPr>
          <a:xfrm>
            <a:off x="9225243" y="982942"/>
            <a:ext cx="412143" cy="618922"/>
            <a:chOff x="9087659" y="762176"/>
            <a:chExt cx="412143" cy="618922"/>
          </a:xfrm>
        </p:grpSpPr>
        <p:sp>
          <p:nvSpPr>
            <p:cNvPr id="163" name="Freeform 354"/>
            <p:cNvSpPr>
              <a:spLocks noEditPoints="1"/>
            </p:cNvSpPr>
            <p:nvPr/>
          </p:nvSpPr>
          <p:spPr bwMode="auto">
            <a:xfrm>
              <a:off x="9087659" y="762176"/>
              <a:ext cx="412143" cy="618922"/>
            </a:xfrm>
            <a:custGeom>
              <a:avLst/>
              <a:gdLst>
                <a:gd name="T0" fmla="*/ 291 w 291"/>
                <a:gd name="T1" fmla="*/ 145 h 437"/>
                <a:gd name="T2" fmla="*/ 287 w 291"/>
                <a:gd name="T3" fmla="*/ 116 h 437"/>
                <a:gd name="T4" fmla="*/ 279 w 291"/>
                <a:gd name="T5" fmla="*/ 89 h 437"/>
                <a:gd name="T6" fmla="*/ 265 w 291"/>
                <a:gd name="T7" fmla="*/ 64 h 437"/>
                <a:gd name="T8" fmla="*/ 248 w 291"/>
                <a:gd name="T9" fmla="*/ 43 h 437"/>
                <a:gd name="T10" fmla="*/ 227 w 291"/>
                <a:gd name="T11" fmla="*/ 25 h 437"/>
                <a:gd name="T12" fmla="*/ 201 w 291"/>
                <a:gd name="T13" fmla="*/ 11 h 437"/>
                <a:gd name="T14" fmla="*/ 174 w 291"/>
                <a:gd name="T15" fmla="*/ 3 h 437"/>
                <a:gd name="T16" fmla="*/ 145 w 291"/>
                <a:gd name="T17" fmla="*/ 0 h 437"/>
                <a:gd name="T18" fmla="*/ 116 w 291"/>
                <a:gd name="T19" fmla="*/ 3 h 437"/>
                <a:gd name="T20" fmla="*/ 88 w 291"/>
                <a:gd name="T21" fmla="*/ 11 h 437"/>
                <a:gd name="T22" fmla="*/ 64 w 291"/>
                <a:gd name="T23" fmla="*/ 25 h 437"/>
                <a:gd name="T24" fmla="*/ 43 w 291"/>
                <a:gd name="T25" fmla="*/ 43 h 437"/>
                <a:gd name="T26" fmla="*/ 25 w 291"/>
                <a:gd name="T27" fmla="*/ 64 h 437"/>
                <a:gd name="T28" fmla="*/ 11 w 291"/>
                <a:gd name="T29" fmla="*/ 89 h 437"/>
                <a:gd name="T30" fmla="*/ 3 w 291"/>
                <a:gd name="T31" fmla="*/ 116 h 437"/>
                <a:gd name="T32" fmla="*/ 0 w 291"/>
                <a:gd name="T33" fmla="*/ 145 h 437"/>
                <a:gd name="T34" fmla="*/ 3 w 291"/>
                <a:gd name="T35" fmla="*/ 174 h 437"/>
                <a:gd name="T36" fmla="*/ 11 w 291"/>
                <a:gd name="T37" fmla="*/ 201 h 437"/>
                <a:gd name="T38" fmla="*/ 24 w 291"/>
                <a:gd name="T39" fmla="*/ 227 h 437"/>
                <a:gd name="T40" fmla="*/ 24 w 291"/>
                <a:gd name="T41" fmla="*/ 227 h 437"/>
                <a:gd name="T42" fmla="*/ 145 w 291"/>
                <a:gd name="T43" fmla="*/ 437 h 437"/>
                <a:gd name="T44" fmla="*/ 266 w 291"/>
                <a:gd name="T45" fmla="*/ 227 h 437"/>
                <a:gd name="T46" fmla="*/ 265 w 291"/>
                <a:gd name="T47" fmla="*/ 227 h 437"/>
                <a:gd name="T48" fmla="*/ 279 w 291"/>
                <a:gd name="T49" fmla="*/ 201 h 437"/>
                <a:gd name="T50" fmla="*/ 287 w 291"/>
                <a:gd name="T51" fmla="*/ 174 h 437"/>
                <a:gd name="T52" fmla="*/ 291 w 291"/>
                <a:gd name="T53" fmla="*/ 145 h 437"/>
                <a:gd name="T54" fmla="*/ 145 w 291"/>
                <a:gd name="T55" fmla="*/ 237 h 437"/>
                <a:gd name="T56" fmla="*/ 121 w 291"/>
                <a:gd name="T57" fmla="*/ 234 h 437"/>
                <a:gd name="T58" fmla="*/ 97 w 291"/>
                <a:gd name="T59" fmla="*/ 225 h 437"/>
                <a:gd name="T60" fmla="*/ 79 w 291"/>
                <a:gd name="T61" fmla="*/ 209 h 437"/>
                <a:gd name="T62" fmla="*/ 65 w 291"/>
                <a:gd name="T63" fmla="*/ 191 h 437"/>
                <a:gd name="T64" fmla="*/ 56 w 291"/>
                <a:gd name="T65" fmla="*/ 169 h 437"/>
                <a:gd name="T66" fmla="*/ 52 w 291"/>
                <a:gd name="T67" fmla="*/ 144 h 437"/>
                <a:gd name="T68" fmla="*/ 56 w 291"/>
                <a:gd name="T69" fmla="*/ 119 h 437"/>
                <a:gd name="T70" fmla="*/ 65 w 291"/>
                <a:gd name="T71" fmla="*/ 96 h 437"/>
                <a:gd name="T72" fmla="*/ 79 w 291"/>
                <a:gd name="T73" fmla="*/ 78 h 437"/>
                <a:gd name="T74" fmla="*/ 97 w 291"/>
                <a:gd name="T75" fmla="*/ 63 h 437"/>
                <a:gd name="T76" fmla="*/ 121 w 291"/>
                <a:gd name="T77" fmla="*/ 53 h 437"/>
                <a:gd name="T78" fmla="*/ 145 w 291"/>
                <a:gd name="T79" fmla="*/ 50 h 437"/>
                <a:gd name="T80" fmla="*/ 170 w 291"/>
                <a:gd name="T81" fmla="*/ 53 h 437"/>
                <a:gd name="T82" fmla="*/ 192 w 291"/>
                <a:gd name="T83" fmla="*/ 63 h 437"/>
                <a:gd name="T84" fmla="*/ 212 w 291"/>
                <a:gd name="T85" fmla="*/ 78 h 437"/>
                <a:gd name="T86" fmla="*/ 226 w 291"/>
                <a:gd name="T87" fmla="*/ 96 h 437"/>
                <a:gd name="T88" fmla="*/ 235 w 291"/>
                <a:gd name="T89" fmla="*/ 119 h 437"/>
                <a:gd name="T90" fmla="*/ 238 w 291"/>
                <a:gd name="T91" fmla="*/ 144 h 437"/>
                <a:gd name="T92" fmla="*/ 235 w 291"/>
                <a:gd name="T93" fmla="*/ 169 h 437"/>
                <a:gd name="T94" fmla="*/ 226 w 291"/>
                <a:gd name="T95" fmla="*/ 191 h 437"/>
                <a:gd name="T96" fmla="*/ 212 w 291"/>
                <a:gd name="T97" fmla="*/ 209 h 437"/>
                <a:gd name="T98" fmla="*/ 192 w 291"/>
                <a:gd name="T99" fmla="*/ 225 h 437"/>
                <a:gd name="T100" fmla="*/ 170 w 291"/>
                <a:gd name="T101" fmla="*/ 234 h 437"/>
                <a:gd name="T102" fmla="*/ 145 w 291"/>
                <a:gd name="T103" fmla="*/ 237 h 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91" h="437">
                  <a:moveTo>
                    <a:pt x="291" y="145"/>
                  </a:moveTo>
                  <a:lnTo>
                    <a:pt x="287" y="116"/>
                  </a:lnTo>
                  <a:lnTo>
                    <a:pt x="279" y="89"/>
                  </a:lnTo>
                  <a:lnTo>
                    <a:pt x="265" y="64"/>
                  </a:lnTo>
                  <a:lnTo>
                    <a:pt x="248" y="43"/>
                  </a:lnTo>
                  <a:lnTo>
                    <a:pt x="227" y="25"/>
                  </a:lnTo>
                  <a:lnTo>
                    <a:pt x="201" y="11"/>
                  </a:lnTo>
                  <a:lnTo>
                    <a:pt x="174" y="3"/>
                  </a:lnTo>
                  <a:lnTo>
                    <a:pt x="145" y="0"/>
                  </a:lnTo>
                  <a:lnTo>
                    <a:pt x="116" y="3"/>
                  </a:lnTo>
                  <a:lnTo>
                    <a:pt x="88" y="11"/>
                  </a:lnTo>
                  <a:lnTo>
                    <a:pt x="64" y="25"/>
                  </a:lnTo>
                  <a:lnTo>
                    <a:pt x="43" y="43"/>
                  </a:lnTo>
                  <a:lnTo>
                    <a:pt x="25" y="64"/>
                  </a:lnTo>
                  <a:lnTo>
                    <a:pt x="11" y="89"/>
                  </a:lnTo>
                  <a:lnTo>
                    <a:pt x="3" y="116"/>
                  </a:lnTo>
                  <a:lnTo>
                    <a:pt x="0" y="145"/>
                  </a:lnTo>
                  <a:lnTo>
                    <a:pt x="3" y="174"/>
                  </a:lnTo>
                  <a:lnTo>
                    <a:pt x="11" y="201"/>
                  </a:lnTo>
                  <a:lnTo>
                    <a:pt x="24" y="227"/>
                  </a:lnTo>
                  <a:lnTo>
                    <a:pt x="24" y="227"/>
                  </a:lnTo>
                  <a:lnTo>
                    <a:pt x="145" y="437"/>
                  </a:lnTo>
                  <a:lnTo>
                    <a:pt x="266" y="227"/>
                  </a:lnTo>
                  <a:lnTo>
                    <a:pt x="265" y="227"/>
                  </a:lnTo>
                  <a:lnTo>
                    <a:pt x="279" y="201"/>
                  </a:lnTo>
                  <a:lnTo>
                    <a:pt x="287" y="174"/>
                  </a:lnTo>
                  <a:lnTo>
                    <a:pt x="291" y="145"/>
                  </a:lnTo>
                  <a:close/>
                  <a:moveTo>
                    <a:pt x="145" y="237"/>
                  </a:moveTo>
                  <a:lnTo>
                    <a:pt x="121" y="234"/>
                  </a:lnTo>
                  <a:lnTo>
                    <a:pt x="97" y="225"/>
                  </a:lnTo>
                  <a:lnTo>
                    <a:pt x="79" y="209"/>
                  </a:lnTo>
                  <a:lnTo>
                    <a:pt x="65" y="191"/>
                  </a:lnTo>
                  <a:lnTo>
                    <a:pt x="56" y="169"/>
                  </a:lnTo>
                  <a:lnTo>
                    <a:pt x="52" y="144"/>
                  </a:lnTo>
                  <a:lnTo>
                    <a:pt x="56" y="119"/>
                  </a:lnTo>
                  <a:lnTo>
                    <a:pt x="65" y="96"/>
                  </a:lnTo>
                  <a:lnTo>
                    <a:pt x="79" y="78"/>
                  </a:lnTo>
                  <a:lnTo>
                    <a:pt x="97" y="63"/>
                  </a:lnTo>
                  <a:lnTo>
                    <a:pt x="121" y="53"/>
                  </a:lnTo>
                  <a:lnTo>
                    <a:pt x="145" y="50"/>
                  </a:lnTo>
                  <a:lnTo>
                    <a:pt x="170" y="53"/>
                  </a:lnTo>
                  <a:lnTo>
                    <a:pt x="192" y="63"/>
                  </a:lnTo>
                  <a:lnTo>
                    <a:pt x="212" y="78"/>
                  </a:lnTo>
                  <a:lnTo>
                    <a:pt x="226" y="96"/>
                  </a:lnTo>
                  <a:lnTo>
                    <a:pt x="235" y="119"/>
                  </a:lnTo>
                  <a:lnTo>
                    <a:pt x="238" y="144"/>
                  </a:lnTo>
                  <a:lnTo>
                    <a:pt x="235" y="169"/>
                  </a:lnTo>
                  <a:lnTo>
                    <a:pt x="226" y="191"/>
                  </a:lnTo>
                  <a:lnTo>
                    <a:pt x="212" y="209"/>
                  </a:lnTo>
                  <a:lnTo>
                    <a:pt x="192" y="225"/>
                  </a:lnTo>
                  <a:lnTo>
                    <a:pt x="170" y="234"/>
                  </a:lnTo>
                  <a:lnTo>
                    <a:pt x="145" y="237"/>
                  </a:lnTo>
                  <a:close/>
                </a:path>
              </a:pathLst>
            </a:custGeom>
            <a:solidFill>
              <a:schemeClr val="tx2"/>
            </a:solidFill>
            <a:ln w="285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89618" tIns="44809" rIns="89618" bIns="44809" numCol="1" anchor="t" anchorCtr="0" compatLnSpc="1">
              <a:prstTxWarp prst="textNoShape">
                <a:avLst/>
              </a:prstTxWarp>
            </a:bodyPr>
            <a:lstStyle/>
            <a:p>
              <a:endParaRPr lang="en-US" sz="1568" dirty="0"/>
            </a:p>
          </p:txBody>
        </p:sp>
        <p:sp>
          <p:nvSpPr>
            <p:cNvPr id="93" name="Oval 92"/>
            <p:cNvSpPr>
              <a:spLocks/>
            </p:cNvSpPr>
            <p:nvPr/>
          </p:nvSpPr>
          <p:spPr>
            <a:xfrm>
              <a:off x="9121917" y="790129"/>
              <a:ext cx="343627" cy="343713"/>
            </a:xfrm>
            <a:prstGeom prst="ellipse">
              <a:avLst/>
            </a:prstGeom>
            <a:solidFill>
              <a:schemeClr val="tx2"/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r>
                <a:rPr lang="en-US" sz="2352" dirty="0">
                  <a:solidFill>
                    <a:srgbClr val="FFFFFF"/>
                  </a:solidFill>
                </a:rPr>
                <a:t>6</a:t>
              </a:r>
            </a:p>
          </p:txBody>
        </p:sp>
      </p:grpSp>
      <p:grpSp>
        <p:nvGrpSpPr>
          <p:cNvPr id="73" name="Group 72">
            <a:extLst>
              <a:ext uri="{FF2B5EF4-FFF2-40B4-BE49-F238E27FC236}">
                <a16:creationId xmlns:a16="http://schemas.microsoft.com/office/drawing/2014/main" id="{6D88831F-A4B2-4303-9484-101A2FE1A5FE}"/>
              </a:ext>
            </a:extLst>
          </p:cNvPr>
          <p:cNvGrpSpPr/>
          <p:nvPr/>
        </p:nvGrpSpPr>
        <p:grpSpPr>
          <a:xfrm>
            <a:off x="10729461" y="982942"/>
            <a:ext cx="412143" cy="618922"/>
            <a:chOff x="10555831" y="762176"/>
            <a:chExt cx="412143" cy="618922"/>
          </a:xfrm>
        </p:grpSpPr>
        <p:sp>
          <p:nvSpPr>
            <p:cNvPr id="164" name="Freeform 354"/>
            <p:cNvSpPr>
              <a:spLocks noEditPoints="1"/>
            </p:cNvSpPr>
            <p:nvPr/>
          </p:nvSpPr>
          <p:spPr bwMode="auto">
            <a:xfrm>
              <a:off x="10555831" y="762176"/>
              <a:ext cx="412143" cy="618922"/>
            </a:xfrm>
            <a:custGeom>
              <a:avLst/>
              <a:gdLst>
                <a:gd name="T0" fmla="*/ 291 w 291"/>
                <a:gd name="T1" fmla="*/ 145 h 437"/>
                <a:gd name="T2" fmla="*/ 287 w 291"/>
                <a:gd name="T3" fmla="*/ 116 h 437"/>
                <a:gd name="T4" fmla="*/ 279 w 291"/>
                <a:gd name="T5" fmla="*/ 89 h 437"/>
                <a:gd name="T6" fmla="*/ 265 w 291"/>
                <a:gd name="T7" fmla="*/ 64 h 437"/>
                <a:gd name="T8" fmla="*/ 248 w 291"/>
                <a:gd name="T9" fmla="*/ 43 h 437"/>
                <a:gd name="T10" fmla="*/ 227 w 291"/>
                <a:gd name="T11" fmla="*/ 25 h 437"/>
                <a:gd name="T12" fmla="*/ 201 w 291"/>
                <a:gd name="T13" fmla="*/ 11 h 437"/>
                <a:gd name="T14" fmla="*/ 174 w 291"/>
                <a:gd name="T15" fmla="*/ 3 h 437"/>
                <a:gd name="T16" fmla="*/ 145 w 291"/>
                <a:gd name="T17" fmla="*/ 0 h 437"/>
                <a:gd name="T18" fmla="*/ 116 w 291"/>
                <a:gd name="T19" fmla="*/ 3 h 437"/>
                <a:gd name="T20" fmla="*/ 88 w 291"/>
                <a:gd name="T21" fmla="*/ 11 h 437"/>
                <a:gd name="T22" fmla="*/ 64 w 291"/>
                <a:gd name="T23" fmla="*/ 25 h 437"/>
                <a:gd name="T24" fmla="*/ 43 w 291"/>
                <a:gd name="T25" fmla="*/ 43 h 437"/>
                <a:gd name="T26" fmla="*/ 25 w 291"/>
                <a:gd name="T27" fmla="*/ 64 h 437"/>
                <a:gd name="T28" fmla="*/ 11 w 291"/>
                <a:gd name="T29" fmla="*/ 89 h 437"/>
                <a:gd name="T30" fmla="*/ 3 w 291"/>
                <a:gd name="T31" fmla="*/ 116 h 437"/>
                <a:gd name="T32" fmla="*/ 0 w 291"/>
                <a:gd name="T33" fmla="*/ 145 h 437"/>
                <a:gd name="T34" fmla="*/ 3 w 291"/>
                <a:gd name="T35" fmla="*/ 174 h 437"/>
                <a:gd name="T36" fmla="*/ 11 w 291"/>
                <a:gd name="T37" fmla="*/ 201 h 437"/>
                <a:gd name="T38" fmla="*/ 24 w 291"/>
                <a:gd name="T39" fmla="*/ 227 h 437"/>
                <a:gd name="T40" fmla="*/ 24 w 291"/>
                <a:gd name="T41" fmla="*/ 227 h 437"/>
                <a:gd name="T42" fmla="*/ 145 w 291"/>
                <a:gd name="T43" fmla="*/ 437 h 437"/>
                <a:gd name="T44" fmla="*/ 266 w 291"/>
                <a:gd name="T45" fmla="*/ 227 h 437"/>
                <a:gd name="T46" fmla="*/ 265 w 291"/>
                <a:gd name="T47" fmla="*/ 227 h 437"/>
                <a:gd name="T48" fmla="*/ 279 w 291"/>
                <a:gd name="T49" fmla="*/ 201 h 437"/>
                <a:gd name="T50" fmla="*/ 287 w 291"/>
                <a:gd name="T51" fmla="*/ 174 h 437"/>
                <a:gd name="T52" fmla="*/ 291 w 291"/>
                <a:gd name="T53" fmla="*/ 145 h 437"/>
                <a:gd name="T54" fmla="*/ 145 w 291"/>
                <a:gd name="T55" fmla="*/ 237 h 437"/>
                <a:gd name="T56" fmla="*/ 121 w 291"/>
                <a:gd name="T57" fmla="*/ 234 h 437"/>
                <a:gd name="T58" fmla="*/ 97 w 291"/>
                <a:gd name="T59" fmla="*/ 225 h 437"/>
                <a:gd name="T60" fmla="*/ 79 w 291"/>
                <a:gd name="T61" fmla="*/ 209 h 437"/>
                <a:gd name="T62" fmla="*/ 65 w 291"/>
                <a:gd name="T63" fmla="*/ 191 h 437"/>
                <a:gd name="T64" fmla="*/ 56 w 291"/>
                <a:gd name="T65" fmla="*/ 169 h 437"/>
                <a:gd name="T66" fmla="*/ 52 w 291"/>
                <a:gd name="T67" fmla="*/ 144 h 437"/>
                <a:gd name="T68" fmla="*/ 56 w 291"/>
                <a:gd name="T69" fmla="*/ 119 h 437"/>
                <a:gd name="T70" fmla="*/ 65 w 291"/>
                <a:gd name="T71" fmla="*/ 96 h 437"/>
                <a:gd name="T72" fmla="*/ 79 w 291"/>
                <a:gd name="T73" fmla="*/ 78 h 437"/>
                <a:gd name="T74" fmla="*/ 97 w 291"/>
                <a:gd name="T75" fmla="*/ 63 h 437"/>
                <a:gd name="T76" fmla="*/ 121 w 291"/>
                <a:gd name="T77" fmla="*/ 53 h 437"/>
                <a:gd name="T78" fmla="*/ 145 w 291"/>
                <a:gd name="T79" fmla="*/ 50 h 437"/>
                <a:gd name="T80" fmla="*/ 170 w 291"/>
                <a:gd name="T81" fmla="*/ 53 h 437"/>
                <a:gd name="T82" fmla="*/ 192 w 291"/>
                <a:gd name="T83" fmla="*/ 63 h 437"/>
                <a:gd name="T84" fmla="*/ 212 w 291"/>
                <a:gd name="T85" fmla="*/ 78 h 437"/>
                <a:gd name="T86" fmla="*/ 226 w 291"/>
                <a:gd name="T87" fmla="*/ 96 h 437"/>
                <a:gd name="T88" fmla="*/ 235 w 291"/>
                <a:gd name="T89" fmla="*/ 119 h 437"/>
                <a:gd name="T90" fmla="*/ 238 w 291"/>
                <a:gd name="T91" fmla="*/ 144 h 437"/>
                <a:gd name="T92" fmla="*/ 235 w 291"/>
                <a:gd name="T93" fmla="*/ 169 h 437"/>
                <a:gd name="T94" fmla="*/ 226 w 291"/>
                <a:gd name="T95" fmla="*/ 191 h 437"/>
                <a:gd name="T96" fmla="*/ 212 w 291"/>
                <a:gd name="T97" fmla="*/ 209 h 437"/>
                <a:gd name="T98" fmla="*/ 192 w 291"/>
                <a:gd name="T99" fmla="*/ 225 h 437"/>
                <a:gd name="T100" fmla="*/ 170 w 291"/>
                <a:gd name="T101" fmla="*/ 234 h 437"/>
                <a:gd name="T102" fmla="*/ 145 w 291"/>
                <a:gd name="T103" fmla="*/ 237 h 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91" h="437">
                  <a:moveTo>
                    <a:pt x="291" y="145"/>
                  </a:moveTo>
                  <a:lnTo>
                    <a:pt x="287" y="116"/>
                  </a:lnTo>
                  <a:lnTo>
                    <a:pt x="279" y="89"/>
                  </a:lnTo>
                  <a:lnTo>
                    <a:pt x="265" y="64"/>
                  </a:lnTo>
                  <a:lnTo>
                    <a:pt x="248" y="43"/>
                  </a:lnTo>
                  <a:lnTo>
                    <a:pt x="227" y="25"/>
                  </a:lnTo>
                  <a:lnTo>
                    <a:pt x="201" y="11"/>
                  </a:lnTo>
                  <a:lnTo>
                    <a:pt x="174" y="3"/>
                  </a:lnTo>
                  <a:lnTo>
                    <a:pt x="145" y="0"/>
                  </a:lnTo>
                  <a:lnTo>
                    <a:pt x="116" y="3"/>
                  </a:lnTo>
                  <a:lnTo>
                    <a:pt x="88" y="11"/>
                  </a:lnTo>
                  <a:lnTo>
                    <a:pt x="64" y="25"/>
                  </a:lnTo>
                  <a:lnTo>
                    <a:pt x="43" y="43"/>
                  </a:lnTo>
                  <a:lnTo>
                    <a:pt x="25" y="64"/>
                  </a:lnTo>
                  <a:lnTo>
                    <a:pt x="11" y="89"/>
                  </a:lnTo>
                  <a:lnTo>
                    <a:pt x="3" y="116"/>
                  </a:lnTo>
                  <a:lnTo>
                    <a:pt x="0" y="145"/>
                  </a:lnTo>
                  <a:lnTo>
                    <a:pt x="3" y="174"/>
                  </a:lnTo>
                  <a:lnTo>
                    <a:pt x="11" y="201"/>
                  </a:lnTo>
                  <a:lnTo>
                    <a:pt x="24" y="227"/>
                  </a:lnTo>
                  <a:lnTo>
                    <a:pt x="24" y="227"/>
                  </a:lnTo>
                  <a:lnTo>
                    <a:pt x="145" y="437"/>
                  </a:lnTo>
                  <a:lnTo>
                    <a:pt x="266" y="227"/>
                  </a:lnTo>
                  <a:lnTo>
                    <a:pt x="265" y="227"/>
                  </a:lnTo>
                  <a:lnTo>
                    <a:pt x="279" y="201"/>
                  </a:lnTo>
                  <a:lnTo>
                    <a:pt x="287" y="174"/>
                  </a:lnTo>
                  <a:lnTo>
                    <a:pt x="291" y="145"/>
                  </a:lnTo>
                  <a:close/>
                  <a:moveTo>
                    <a:pt x="145" y="237"/>
                  </a:moveTo>
                  <a:lnTo>
                    <a:pt x="121" y="234"/>
                  </a:lnTo>
                  <a:lnTo>
                    <a:pt x="97" y="225"/>
                  </a:lnTo>
                  <a:lnTo>
                    <a:pt x="79" y="209"/>
                  </a:lnTo>
                  <a:lnTo>
                    <a:pt x="65" y="191"/>
                  </a:lnTo>
                  <a:lnTo>
                    <a:pt x="56" y="169"/>
                  </a:lnTo>
                  <a:lnTo>
                    <a:pt x="52" y="144"/>
                  </a:lnTo>
                  <a:lnTo>
                    <a:pt x="56" y="119"/>
                  </a:lnTo>
                  <a:lnTo>
                    <a:pt x="65" y="96"/>
                  </a:lnTo>
                  <a:lnTo>
                    <a:pt x="79" y="78"/>
                  </a:lnTo>
                  <a:lnTo>
                    <a:pt x="97" y="63"/>
                  </a:lnTo>
                  <a:lnTo>
                    <a:pt x="121" y="53"/>
                  </a:lnTo>
                  <a:lnTo>
                    <a:pt x="145" y="50"/>
                  </a:lnTo>
                  <a:lnTo>
                    <a:pt x="170" y="53"/>
                  </a:lnTo>
                  <a:lnTo>
                    <a:pt x="192" y="63"/>
                  </a:lnTo>
                  <a:lnTo>
                    <a:pt x="212" y="78"/>
                  </a:lnTo>
                  <a:lnTo>
                    <a:pt x="226" y="96"/>
                  </a:lnTo>
                  <a:lnTo>
                    <a:pt x="235" y="119"/>
                  </a:lnTo>
                  <a:lnTo>
                    <a:pt x="238" y="144"/>
                  </a:lnTo>
                  <a:lnTo>
                    <a:pt x="235" y="169"/>
                  </a:lnTo>
                  <a:lnTo>
                    <a:pt x="226" y="191"/>
                  </a:lnTo>
                  <a:lnTo>
                    <a:pt x="212" y="209"/>
                  </a:lnTo>
                  <a:lnTo>
                    <a:pt x="192" y="225"/>
                  </a:lnTo>
                  <a:lnTo>
                    <a:pt x="170" y="234"/>
                  </a:lnTo>
                  <a:lnTo>
                    <a:pt x="145" y="237"/>
                  </a:lnTo>
                  <a:close/>
                </a:path>
              </a:pathLst>
            </a:custGeom>
            <a:solidFill>
              <a:schemeClr val="tx2"/>
            </a:solidFill>
            <a:ln w="285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89618" tIns="44809" rIns="89618" bIns="44809" numCol="1" anchor="t" anchorCtr="0" compatLnSpc="1">
              <a:prstTxWarp prst="textNoShape">
                <a:avLst/>
              </a:prstTxWarp>
            </a:bodyPr>
            <a:lstStyle/>
            <a:p>
              <a:endParaRPr lang="en-US" sz="1568" dirty="0"/>
            </a:p>
          </p:txBody>
        </p:sp>
        <p:sp>
          <p:nvSpPr>
            <p:cNvPr id="94" name="Oval 93"/>
            <p:cNvSpPr>
              <a:spLocks/>
            </p:cNvSpPr>
            <p:nvPr/>
          </p:nvSpPr>
          <p:spPr>
            <a:xfrm>
              <a:off x="10590089" y="790129"/>
              <a:ext cx="343627" cy="343713"/>
            </a:xfrm>
            <a:prstGeom prst="ellipse">
              <a:avLst/>
            </a:prstGeom>
            <a:solidFill>
              <a:schemeClr val="tx2"/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r>
                <a:rPr lang="en-US" sz="2352" dirty="0">
                  <a:solidFill>
                    <a:srgbClr val="FFFFFF"/>
                  </a:solidFill>
                </a:rPr>
                <a:t>7</a:t>
              </a:r>
            </a:p>
          </p:txBody>
        </p:sp>
      </p:grpSp>
      <p:sp>
        <p:nvSpPr>
          <p:cNvPr id="128" name="Rectangle 25"/>
          <p:cNvSpPr txBox="1">
            <a:spLocks/>
          </p:cNvSpPr>
          <p:nvPr>
            <p:custDataLst>
              <p:tags r:id="rId7"/>
            </p:custDataLst>
          </p:nvPr>
        </p:nvSpPr>
        <p:spPr>
          <a:xfrm>
            <a:off x="158759" y="1784647"/>
            <a:ext cx="860416" cy="1193061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vert="horz" wrap="square" lIns="72009" tIns="72009" rIns="72009" bIns="72009" rtlCol="0" anchor="ctr" anchorCtr="0">
            <a:noAutofit/>
          </a:bodyPr>
          <a:lstStyle>
            <a:defPPr>
              <a:defRPr lang="en-US"/>
            </a:defPPr>
            <a:lvl1pPr lvl="0" indent="0" defTabSz="457063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Arial"/>
              <a:buNone/>
            </a:lvl1pPr>
            <a:lvl2pPr marL="0" lvl="1" indent="0" defTabSz="457063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FontTx/>
              <a:buNone/>
              <a:defRPr sz="1400" baseline="0">
                <a:solidFill>
                  <a:schemeClr val="tx2"/>
                </a:solidFill>
              </a:defRPr>
            </a:lvl2pPr>
            <a:lvl3pPr marL="228531" lvl="2" indent="-228531" defTabSz="457063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Font typeface="Lucida Grande"/>
              <a:buChar char="–"/>
              <a:defRPr sz="1400" baseline="0">
                <a:solidFill>
                  <a:schemeClr val="tx2"/>
                </a:solidFill>
              </a:defRPr>
            </a:lvl3pPr>
            <a:lvl4pPr marL="457063" lvl="3" indent="-231705" defTabSz="457063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Font typeface="Arial"/>
              <a:buChar char="•"/>
              <a:defRPr sz="1400">
                <a:solidFill>
                  <a:schemeClr val="tx2"/>
                </a:solidFill>
              </a:defRPr>
            </a:lvl4pPr>
            <a:lvl5pPr marL="685594" lvl="4" indent="-228531" defTabSz="457063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Font typeface="Lucida Grande"/>
              <a:buChar char="–"/>
              <a:defRPr sz="1400">
                <a:solidFill>
                  <a:schemeClr val="tx2"/>
                </a:solidFill>
              </a:defRPr>
            </a:lvl5pPr>
            <a:lvl6pPr marL="917300" lvl="5" indent="-228531" defTabSz="457063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Font typeface="Lucida Grande"/>
              <a:buChar char="»"/>
              <a:defRPr sz="1400" baseline="0">
                <a:solidFill>
                  <a:schemeClr val="tx2"/>
                </a:solidFill>
              </a:defRPr>
            </a:lvl6pPr>
            <a:lvl7pPr marL="1142657" lvl="6" indent="-225357" defTabSz="457063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Font typeface="Arial"/>
              <a:buChar char="•"/>
              <a:defRPr sz="1400">
                <a:solidFill>
                  <a:schemeClr val="tx2"/>
                </a:solidFill>
              </a:defRPr>
            </a:lvl7pPr>
            <a:lvl8pPr marL="3427971" indent="-228531" defTabSz="457063">
              <a:spcBef>
                <a:spcPct val="20000"/>
              </a:spcBef>
              <a:buFont typeface="Arial"/>
              <a:buChar char="•"/>
              <a:defRPr sz="1999"/>
            </a:lvl8pPr>
            <a:lvl9pPr marL="3885034" indent="-228531" defTabSz="457063">
              <a:spcBef>
                <a:spcPct val="20000"/>
              </a:spcBef>
              <a:buFont typeface="Arial"/>
              <a:buChar char="•"/>
              <a:defRPr sz="1999"/>
            </a:lvl9pPr>
          </a:lstStyle>
          <a:p>
            <a:pPr fontAlgn="auto">
              <a:buClr>
                <a:srgbClr val="000000"/>
              </a:buClr>
            </a:pPr>
            <a:r>
              <a:rPr lang="en-US" sz="1200" b="1" dirty="0">
                <a:solidFill>
                  <a:schemeClr val="bg2"/>
                </a:solidFill>
              </a:rPr>
              <a:t>Program Element</a:t>
            </a:r>
          </a:p>
        </p:txBody>
      </p:sp>
      <p:sp>
        <p:nvSpPr>
          <p:cNvPr id="136" name="Rectangle 135"/>
          <p:cNvSpPr>
            <a:spLocks/>
          </p:cNvSpPr>
          <p:nvPr/>
        </p:nvSpPr>
        <p:spPr>
          <a:xfrm>
            <a:off x="5719812" y="5428794"/>
            <a:ext cx="5930838" cy="264342"/>
          </a:xfrm>
          <a:prstGeom prst="rect">
            <a:avLst/>
          </a:prstGeom>
          <a:solidFill>
            <a:srgbClr val="92D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en-US" sz="1200" dirty="0">
                <a:solidFill>
                  <a:schemeClr val="tx1"/>
                </a:solidFill>
              </a:rPr>
              <a:t>Skill building</a:t>
            </a:r>
          </a:p>
        </p:txBody>
      </p:sp>
      <p:sp>
        <p:nvSpPr>
          <p:cNvPr id="133" name="Rectangle 25"/>
          <p:cNvSpPr txBox="1">
            <a:spLocks/>
          </p:cNvSpPr>
          <p:nvPr>
            <p:custDataLst>
              <p:tags r:id="rId8"/>
            </p:custDataLst>
          </p:nvPr>
        </p:nvSpPr>
        <p:spPr>
          <a:xfrm>
            <a:off x="158759" y="3082811"/>
            <a:ext cx="860416" cy="369508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vert="horz" wrap="square" lIns="72009" tIns="72009" rIns="72009" bIns="72009" rtlCol="0" anchor="ctr" anchorCtr="0">
            <a:noAutofit/>
          </a:bodyPr>
          <a:lstStyle>
            <a:defPPr>
              <a:defRPr lang="en-US"/>
            </a:defPPr>
            <a:lvl1pPr lvl="0" indent="0" defTabSz="457063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Arial"/>
              <a:buNone/>
            </a:lvl1pPr>
            <a:lvl2pPr marL="0" lvl="1" indent="0" defTabSz="457063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FontTx/>
              <a:buNone/>
              <a:defRPr sz="1400" baseline="0">
                <a:solidFill>
                  <a:schemeClr val="tx2"/>
                </a:solidFill>
              </a:defRPr>
            </a:lvl2pPr>
            <a:lvl3pPr marL="228531" lvl="2" indent="-228531" defTabSz="457063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Font typeface="Lucida Grande"/>
              <a:buChar char="–"/>
              <a:defRPr sz="1400" baseline="0">
                <a:solidFill>
                  <a:schemeClr val="tx2"/>
                </a:solidFill>
              </a:defRPr>
            </a:lvl3pPr>
            <a:lvl4pPr marL="457063" lvl="3" indent="-231705" defTabSz="457063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Font typeface="Arial"/>
              <a:buChar char="•"/>
              <a:defRPr sz="1400">
                <a:solidFill>
                  <a:schemeClr val="tx2"/>
                </a:solidFill>
              </a:defRPr>
            </a:lvl4pPr>
            <a:lvl5pPr marL="685594" lvl="4" indent="-228531" defTabSz="457063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Font typeface="Lucida Grande"/>
              <a:buChar char="–"/>
              <a:defRPr sz="1400">
                <a:solidFill>
                  <a:schemeClr val="tx2"/>
                </a:solidFill>
              </a:defRPr>
            </a:lvl5pPr>
            <a:lvl6pPr marL="917300" lvl="5" indent="-228531" defTabSz="457063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Font typeface="Lucida Grande"/>
              <a:buChar char="»"/>
              <a:defRPr sz="1400" baseline="0">
                <a:solidFill>
                  <a:schemeClr val="tx2"/>
                </a:solidFill>
              </a:defRPr>
            </a:lvl6pPr>
            <a:lvl7pPr marL="1142657" lvl="6" indent="-225357" defTabSz="457063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Font typeface="Arial"/>
              <a:buChar char="•"/>
              <a:defRPr sz="1400">
                <a:solidFill>
                  <a:schemeClr val="tx2"/>
                </a:solidFill>
              </a:defRPr>
            </a:lvl7pPr>
            <a:lvl8pPr marL="3427971" indent="-228531" defTabSz="457063">
              <a:spcBef>
                <a:spcPct val="20000"/>
              </a:spcBef>
              <a:buFont typeface="Arial"/>
              <a:buChar char="•"/>
              <a:defRPr sz="1999"/>
            </a:lvl8pPr>
            <a:lvl9pPr marL="3885034" indent="-228531" defTabSz="457063">
              <a:spcBef>
                <a:spcPct val="20000"/>
              </a:spcBef>
              <a:buFont typeface="Arial"/>
              <a:buChar char="•"/>
              <a:defRPr sz="1999"/>
            </a:lvl9pPr>
          </a:lstStyle>
          <a:p>
            <a:pPr fontAlgn="auto">
              <a:buClr>
                <a:srgbClr val="000000"/>
              </a:buClr>
            </a:pPr>
            <a:r>
              <a:rPr lang="en-US" sz="1200" b="1" dirty="0">
                <a:solidFill>
                  <a:schemeClr val="bg2"/>
                </a:solidFill>
              </a:rPr>
              <a:t>Audience</a:t>
            </a:r>
          </a:p>
        </p:txBody>
      </p:sp>
      <p:grpSp>
        <p:nvGrpSpPr>
          <p:cNvPr id="57" name="Group 56">
            <a:extLst>
              <a:ext uri="{FF2B5EF4-FFF2-40B4-BE49-F238E27FC236}">
                <a16:creationId xmlns:a16="http://schemas.microsoft.com/office/drawing/2014/main" id="{C2E6317F-4F36-4CD7-9979-AF59A708F4F4}"/>
              </a:ext>
            </a:extLst>
          </p:cNvPr>
          <p:cNvGrpSpPr>
            <a:grpSpLocks/>
          </p:cNvGrpSpPr>
          <p:nvPr/>
        </p:nvGrpSpPr>
        <p:grpSpPr>
          <a:xfrm>
            <a:off x="1106814" y="3082811"/>
            <a:ext cx="10543836" cy="369508"/>
            <a:chOff x="1106814" y="3010132"/>
            <a:chExt cx="10543836" cy="369508"/>
          </a:xfrm>
        </p:grpSpPr>
        <p:sp>
          <p:nvSpPr>
            <p:cNvPr id="137" name="TextBox 136"/>
            <p:cNvSpPr txBox="1">
              <a:spLocks/>
            </p:cNvSpPr>
            <p:nvPr/>
          </p:nvSpPr>
          <p:spPr>
            <a:xfrm>
              <a:off x="1106814" y="3010132"/>
              <a:ext cx="4537679" cy="369508"/>
            </a:xfrm>
            <a:prstGeom prst="rect">
              <a:avLst/>
            </a:prstGeom>
            <a:solidFill>
              <a:schemeClr val="bg2"/>
            </a:solidFill>
            <a:ln w="19050">
              <a:solidFill>
                <a:schemeClr val="accent4"/>
              </a:solidFill>
              <a:miter lim="800000"/>
              <a:headEnd/>
              <a:tailEnd/>
            </a:ln>
            <a:effectLst/>
            <a:extLst/>
          </p:spPr>
          <p:txBody>
            <a:bodyPr vert="horz" wrap="square" lIns="0" tIns="0" rIns="0" bIns="0" numCol="1" anchor="ctr" anchorCtr="1" compatLnSpc="1">
              <a:prstTxWarp prst="textNoShape">
                <a:avLst/>
              </a:prstTxWarp>
              <a:noAutofit/>
            </a:bodyPr>
            <a:lstStyle>
              <a:lvl1pPr lvl="0" indent="0" defTabSz="121782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400" baseline="0"/>
              </a:lvl1pPr>
              <a:lvl2pPr marL="192024" lvl="1" indent="-192024" defTabSz="121782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Calibri" panose="020F0502020204030204" pitchFamily="34" charset="0"/>
                <a:buChar char="▪"/>
                <a:defRPr sz="1400" baseline="0"/>
              </a:lvl2pPr>
              <a:lvl3pPr marL="457200" lvl="2" indent="-265176" defTabSz="121782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/>
              </a:lvl3pPr>
              <a:lvl4pPr marL="612648" lvl="3" indent="-155448" defTabSz="121782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Calibri" panose="020F0502020204030204" pitchFamily="34" charset="0"/>
                <a:buChar char="▫"/>
                <a:defRPr sz="1400" baseline="0"/>
              </a:lvl4pPr>
              <a:lvl5pPr marL="749808" lvl="4" indent="-128016" defTabSz="121782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/>
              </a:lvl5pPr>
              <a:lvl6pPr marL="1019860" indent="-177060" defTabSz="121782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00" baseline="0"/>
              </a:lvl6pPr>
              <a:lvl7pPr marL="1019860" indent="-177060" defTabSz="121782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00" baseline="0"/>
              </a:lvl7pPr>
              <a:lvl8pPr marL="1019860" indent="-177060" defTabSz="121782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00" baseline="0"/>
              </a:lvl8pPr>
              <a:lvl9pPr marL="1019860" indent="-177060" defTabSz="121782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00" baseline="0"/>
              </a:lvl9pPr>
            </a:lstStyle>
            <a:p>
              <a:pPr algn="ctr">
                <a:buClr>
                  <a:srgbClr val="FFFFFF"/>
                </a:buClr>
              </a:pPr>
              <a:r>
                <a:rPr lang="en-US" sz="1200" b="1" dirty="0">
                  <a:solidFill>
                    <a:schemeClr val="accent4"/>
                  </a:solidFill>
                  <a:latin typeface="+mn-lt"/>
                </a:rPr>
                <a:t>Sales Managers + Sellers</a:t>
              </a:r>
              <a:endParaRPr lang="en-US" sz="1200" dirty="0">
                <a:solidFill>
                  <a:schemeClr val="accent4"/>
                </a:solidFill>
                <a:latin typeface="+mn-lt"/>
              </a:endParaRPr>
            </a:p>
          </p:txBody>
        </p:sp>
        <p:sp>
          <p:nvSpPr>
            <p:cNvPr id="139" name="TextBox 138"/>
            <p:cNvSpPr txBox="1">
              <a:spLocks/>
            </p:cNvSpPr>
            <p:nvPr/>
          </p:nvSpPr>
          <p:spPr>
            <a:xfrm>
              <a:off x="8717535" y="3010132"/>
              <a:ext cx="2933115" cy="369508"/>
            </a:xfrm>
            <a:prstGeom prst="rect">
              <a:avLst/>
            </a:prstGeom>
            <a:solidFill>
              <a:schemeClr val="bg2"/>
            </a:solidFill>
            <a:ln w="19050">
              <a:solidFill>
                <a:schemeClr val="accent4"/>
              </a:solidFill>
              <a:miter lim="800000"/>
              <a:headEnd/>
              <a:tailEnd/>
            </a:ln>
            <a:effectLst/>
            <a:extLst/>
          </p:spPr>
          <p:txBody>
            <a:bodyPr vert="horz" wrap="square" lIns="0" tIns="0" rIns="0" bIns="0" numCol="1" anchor="ctr" anchorCtr="1" compatLnSpc="1">
              <a:prstTxWarp prst="textNoShape">
                <a:avLst/>
              </a:prstTxWarp>
              <a:noAutofit/>
            </a:bodyPr>
            <a:lstStyle>
              <a:lvl1pPr lvl="0" indent="0" defTabSz="121782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400" baseline="0"/>
              </a:lvl1pPr>
              <a:lvl2pPr marL="192024" lvl="1" indent="-192024" defTabSz="121782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Calibri" panose="020F0502020204030204" pitchFamily="34" charset="0"/>
                <a:buChar char="▪"/>
                <a:defRPr sz="1400" baseline="0"/>
              </a:lvl2pPr>
              <a:lvl3pPr marL="457200" lvl="2" indent="-265176" defTabSz="121782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/>
              </a:lvl3pPr>
              <a:lvl4pPr marL="612648" lvl="3" indent="-155448" defTabSz="121782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Calibri" panose="020F0502020204030204" pitchFamily="34" charset="0"/>
                <a:buChar char="▫"/>
                <a:defRPr sz="1400" baseline="0"/>
              </a:lvl4pPr>
              <a:lvl5pPr marL="749808" lvl="4" indent="-128016" defTabSz="121782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/>
              </a:lvl5pPr>
              <a:lvl6pPr marL="1019860" indent="-177060" defTabSz="121782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00" baseline="0"/>
              </a:lvl6pPr>
              <a:lvl7pPr marL="1019860" indent="-177060" defTabSz="121782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00" baseline="0"/>
              </a:lvl7pPr>
              <a:lvl8pPr marL="1019860" indent="-177060" defTabSz="121782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00" baseline="0"/>
              </a:lvl8pPr>
              <a:lvl9pPr marL="1019860" indent="-177060" defTabSz="121782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00" baseline="0"/>
              </a:lvl9pPr>
            </a:lstStyle>
            <a:p>
              <a:pPr algn="ctr">
                <a:buClr>
                  <a:srgbClr val="FFFFFF"/>
                </a:buClr>
              </a:pPr>
              <a:r>
                <a:rPr lang="en-US" sz="1200" b="1" dirty="0">
                  <a:solidFill>
                    <a:schemeClr val="accent4"/>
                  </a:solidFill>
                  <a:latin typeface="+mn-lt"/>
                </a:rPr>
                <a:t>Sales Managers + Sellers</a:t>
              </a:r>
              <a:endParaRPr lang="en-US" sz="1200" dirty="0">
                <a:solidFill>
                  <a:schemeClr val="accent4"/>
                </a:solidFill>
                <a:latin typeface="+mn-lt"/>
              </a:endParaRPr>
            </a:p>
          </p:txBody>
        </p:sp>
        <p:sp>
          <p:nvSpPr>
            <p:cNvPr id="141" name="TextBox 140"/>
            <p:cNvSpPr txBox="1">
              <a:spLocks/>
            </p:cNvSpPr>
            <p:nvPr/>
          </p:nvSpPr>
          <p:spPr>
            <a:xfrm>
              <a:off x="7226204" y="3010132"/>
              <a:ext cx="1416012" cy="369508"/>
            </a:xfrm>
            <a:prstGeom prst="rect">
              <a:avLst/>
            </a:prstGeom>
            <a:solidFill>
              <a:schemeClr val="bg2"/>
            </a:solidFill>
            <a:ln w="19050">
              <a:solidFill>
                <a:schemeClr val="accent4"/>
              </a:solidFill>
              <a:miter lim="800000"/>
              <a:headEnd/>
              <a:tailEnd/>
            </a:ln>
            <a:effectLst/>
            <a:extLst/>
          </p:spPr>
          <p:txBody>
            <a:bodyPr vert="horz" wrap="square" lIns="0" tIns="0" rIns="0" bIns="0" numCol="1" anchor="ctr" anchorCtr="1" compatLnSpc="1">
              <a:prstTxWarp prst="textNoShape">
                <a:avLst/>
              </a:prstTxWarp>
              <a:noAutofit/>
            </a:bodyPr>
            <a:lstStyle>
              <a:lvl1pPr lvl="0" indent="0" defTabSz="121782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400" baseline="0"/>
              </a:lvl1pPr>
              <a:lvl2pPr marL="192024" lvl="1" indent="-192024" defTabSz="121782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Calibri" panose="020F0502020204030204" pitchFamily="34" charset="0"/>
                <a:buChar char="▪"/>
                <a:defRPr sz="1400" baseline="0"/>
              </a:lvl2pPr>
              <a:lvl3pPr marL="457200" lvl="2" indent="-265176" defTabSz="121782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/>
              </a:lvl3pPr>
              <a:lvl4pPr marL="612648" lvl="3" indent="-155448" defTabSz="121782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Calibri" panose="020F0502020204030204" pitchFamily="34" charset="0"/>
                <a:buChar char="▫"/>
                <a:defRPr sz="1400" baseline="0"/>
              </a:lvl4pPr>
              <a:lvl5pPr marL="749808" lvl="4" indent="-128016" defTabSz="121782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/>
              </a:lvl5pPr>
              <a:lvl6pPr marL="1019860" indent="-177060" defTabSz="121782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00" baseline="0"/>
              </a:lvl6pPr>
              <a:lvl7pPr marL="1019860" indent="-177060" defTabSz="121782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00" baseline="0"/>
              </a:lvl7pPr>
              <a:lvl8pPr marL="1019860" indent="-177060" defTabSz="121782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00" baseline="0"/>
              </a:lvl8pPr>
              <a:lvl9pPr marL="1019860" indent="-177060" defTabSz="121782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00" baseline="0"/>
              </a:lvl9pPr>
            </a:lstStyle>
            <a:p>
              <a:pPr algn="ctr">
                <a:buClr>
                  <a:srgbClr val="FFFFFF"/>
                </a:buClr>
              </a:pPr>
              <a:r>
                <a:rPr lang="en-US" sz="1200" b="1" dirty="0">
                  <a:solidFill>
                    <a:schemeClr val="accent4"/>
                  </a:solidFill>
                  <a:latin typeface="+mn-lt"/>
                </a:rPr>
                <a:t>Acquire only</a:t>
              </a:r>
              <a:endParaRPr lang="en-US" sz="1200" dirty="0">
                <a:solidFill>
                  <a:schemeClr val="accent4"/>
                </a:solidFill>
                <a:latin typeface="+mn-lt"/>
              </a:endParaRPr>
            </a:p>
          </p:txBody>
        </p:sp>
        <p:sp>
          <p:nvSpPr>
            <p:cNvPr id="138" name="TextBox 137"/>
            <p:cNvSpPr txBox="1">
              <a:spLocks/>
            </p:cNvSpPr>
            <p:nvPr/>
          </p:nvSpPr>
          <p:spPr>
            <a:xfrm>
              <a:off x="5727434" y="3010132"/>
              <a:ext cx="1388531" cy="369508"/>
            </a:xfrm>
            <a:prstGeom prst="rect">
              <a:avLst/>
            </a:prstGeom>
            <a:solidFill>
              <a:schemeClr val="bg2"/>
            </a:solidFill>
            <a:ln w="19050">
              <a:solidFill>
                <a:schemeClr val="accent4"/>
              </a:solidFill>
              <a:miter lim="800000"/>
              <a:headEnd/>
              <a:tailEnd/>
            </a:ln>
            <a:effectLst/>
            <a:extLst/>
          </p:spPr>
          <p:txBody>
            <a:bodyPr vert="horz" wrap="square" lIns="0" tIns="0" rIns="0" bIns="0" numCol="1" anchor="ctr" anchorCtr="1" compatLnSpc="1">
              <a:prstTxWarp prst="textNoShape">
                <a:avLst/>
              </a:prstTxWarp>
              <a:noAutofit/>
            </a:bodyPr>
            <a:lstStyle>
              <a:lvl1pPr lvl="0" indent="0" defTabSz="121782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400" baseline="0"/>
              </a:lvl1pPr>
              <a:lvl2pPr marL="192024" lvl="1" indent="-192024" defTabSz="121782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Calibri" panose="020F0502020204030204" pitchFamily="34" charset="0"/>
                <a:buChar char="▪"/>
                <a:defRPr sz="1400" baseline="0"/>
              </a:lvl2pPr>
              <a:lvl3pPr marL="457200" lvl="2" indent="-265176" defTabSz="121782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/>
              </a:lvl3pPr>
              <a:lvl4pPr marL="612648" lvl="3" indent="-155448" defTabSz="121782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Calibri" panose="020F0502020204030204" pitchFamily="34" charset="0"/>
                <a:buChar char="▫"/>
                <a:defRPr sz="1400" baseline="0"/>
              </a:lvl4pPr>
              <a:lvl5pPr marL="749808" lvl="4" indent="-128016" defTabSz="121782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/>
              </a:lvl5pPr>
              <a:lvl6pPr marL="1019860" indent="-177060" defTabSz="121782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00" baseline="0"/>
              </a:lvl6pPr>
              <a:lvl7pPr marL="1019860" indent="-177060" defTabSz="121782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00" baseline="0"/>
              </a:lvl7pPr>
              <a:lvl8pPr marL="1019860" indent="-177060" defTabSz="121782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00" baseline="0"/>
              </a:lvl8pPr>
              <a:lvl9pPr marL="1019860" indent="-177060" defTabSz="121782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00" baseline="0"/>
              </a:lvl9pPr>
            </a:lstStyle>
            <a:p>
              <a:pPr algn="ctr">
                <a:buClr>
                  <a:srgbClr val="FFFFFF"/>
                </a:buClr>
              </a:pPr>
              <a:r>
                <a:rPr lang="en-US" sz="1200" b="1" dirty="0">
                  <a:solidFill>
                    <a:schemeClr val="accent4"/>
                  </a:solidFill>
                  <a:latin typeface="+mn-lt"/>
                </a:rPr>
                <a:t>Sales Managers</a:t>
              </a:r>
              <a:endParaRPr lang="en-US" sz="1200" dirty="0">
                <a:solidFill>
                  <a:schemeClr val="accent4"/>
                </a:solidFill>
                <a:latin typeface="+mn-lt"/>
              </a:endParaRPr>
            </a:p>
          </p:txBody>
        </p:sp>
      </p:grpSp>
      <p:sp>
        <p:nvSpPr>
          <p:cNvPr id="130" name="Rectangle 25"/>
          <p:cNvSpPr txBox="1">
            <a:spLocks/>
          </p:cNvSpPr>
          <p:nvPr>
            <p:custDataLst>
              <p:tags r:id="rId9"/>
            </p:custDataLst>
          </p:nvPr>
        </p:nvSpPr>
        <p:spPr>
          <a:xfrm>
            <a:off x="158759" y="5059349"/>
            <a:ext cx="860416" cy="1003233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vert="horz" wrap="square" lIns="72009" tIns="72009" rIns="72009" bIns="72009" rtlCol="0" anchor="ctr" anchorCtr="0">
            <a:noAutofit/>
          </a:bodyPr>
          <a:lstStyle>
            <a:defPPr>
              <a:defRPr lang="en-US"/>
            </a:defPPr>
            <a:lvl1pPr lvl="0" indent="0" defTabSz="457063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Arial"/>
              <a:buNone/>
            </a:lvl1pPr>
            <a:lvl2pPr marL="0" lvl="1" indent="0" defTabSz="457063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FontTx/>
              <a:buNone/>
              <a:defRPr sz="1400" baseline="0">
                <a:solidFill>
                  <a:schemeClr val="tx2"/>
                </a:solidFill>
              </a:defRPr>
            </a:lvl2pPr>
            <a:lvl3pPr marL="228531" lvl="2" indent="-228531" defTabSz="457063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Font typeface="Lucida Grande"/>
              <a:buChar char="–"/>
              <a:defRPr sz="1400" baseline="0">
                <a:solidFill>
                  <a:schemeClr val="tx2"/>
                </a:solidFill>
              </a:defRPr>
            </a:lvl3pPr>
            <a:lvl4pPr marL="457063" lvl="3" indent="-231705" defTabSz="457063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Font typeface="Arial"/>
              <a:buChar char="•"/>
              <a:defRPr sz="1400">
                <a:solidFill>
                  <a:schemeClr val="tx2"/>
                </a:solidFill>
              </a:defRPr>
            </a:lvl4pPr>
            <a:lvl5pPr marL="685594" lvl="4" indent="-228531" defTabSz="457063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Font typeface="Lucida Grande"/>
              <a:buChar char="–"/>
              <a:defRPr sz="1400">
                <a:solidFill>
                  <a:schemeClr val="tx2"/>
                </a:solidFill>
              </a:defRPr>
            </a:lvl5pPr>
            <a:lvl6pPr marL="917300" lvl="5" indent="-228531" defTabSz="457063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Font typeface="Lucida Grande"/>
              <a:buChar char="»"/>
              <a:defRPr sz="1400" baseline="0">
                <a:solidFill>
                  <a:schemeClr val="tx2"/>
                </a:solidFill>
              </a:defRPr>
            </a:lvl6pPr>
            <a:lvl7pPr marL="1142657" lvl="6" indent="-225357" defTabSz="457063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Font typeface="Arial"/>
              <a:buChar char="•"/>
              <a:defRPr sz="1400">
                <a:solidFill>
                  <a:schemeClr val="tx2"/>
                </a:solidFill>
              </a:defRPr>
            </a:lvl7pPr>
            <a:lvl8pPr marL="3427971" indent="-228531" defTabSz="457063">
              <a:spcBef>
                <a:spcPct val="20000"/>
              </a:spcBef>
              <a:buFont typeface="Arial"/>
              <a:buChar char="•"/>
              <a:defRPr sz="1999"/>
            </a:lvl8pPr>
            <a:lvl9pPr marL="3885034" indent="-228531" defTabSz="457063">
              <a:spcBef>
                <a:spcPct val="20000"/>
              </a:spcBef>
              <a:buFont typeface="Arial"/>
              <a:buChar char="•"/>
              <a:defRPr sz="1999"/>
            </a:lvl9pPr>
          </a:lstStyle>
          <a:p>
            <a:pPr fontAlgn="auto">
              <a:buClr>
                <a:srgbClr val="000000"/>
              </a:buClr>
            </a:pPr>
            <a:r>
              <a:rPr lang="en-US" sz="1200" b="1" dirty="0">
                <a:solidFill>
                  <a:schemeClr val="bg2"/>
                </a:solidFill>
              </a:rPr>
              <a:t>Purpose</a:t>
            </a:r>
          </a:p>
        </p:txBody>
      </p:sp>
      <p:grpSp>
        <p:nvGrpSpPr>
          <p:cNvPr id="60" name="Group 59">
            <a:extLst>
              <a:ext uri="{FF2B5EF4-FFF2-40B4-BE49-F238E27FC236}">
                <a16:creationId xmlns:a16="http://schemas.microsoft.com/office/drawing/2014/main" id="{07F90ABB-9623-4814-8235-5AF13903409A}"/>
              </a:ext>
            </a:extLst>
          </p:cNvPr>
          <p:cNvGrpSpPr/>
          <p:nvPr/>
        </p:nvGrpSpPr>
        <p:grpSpPr>
          <a:xfrm>
            <a:off x="2612369" y="5059349"/>
            <a:ext cx="7532721" cy="264342"/>
            <a:chOff x="2612369" y="5030420"/>
            <a:chExt cx="7532721" cy="264342"/>
          </a:xfrm>
        </p:grpSpPr>
        <p:sp>
          <p:nvSpPr>
            <p:cNvPr id="6" name="Rectangle 5"/>
            <p:cNvSpPr>
              <a:spLocks/>
            </p:cNvSpPr>
            <p:nvPr/>
          </p:nvSpPr>
          <p:spPr>
            <a:xfrm>
              <a:off x="2612369" y="5030420"/>
              <a:ext cx="4529647" cy="264342"/>
            </a:xfrm>
            <a:prstGeom prst="rect">
              <a:avLst/>
            </a:prstGeom>
            <a:solidFill>
              <a:srgbClr val="FFC00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dirty="0">
                  <a:solidFill>
                    <a:schemeClr val="tx1"/>
                  </a:solidFill>
                </a:rPr>
                <a:t>Knowledge</a:t>
              </a:r>
            </a:p>
          </p:txBody>
        </p:sp>
        <p:sp>
          <p:nvSpPr>
            <p:cNvPr id="135" name="Rectangle 134"/>
            <p:cNvSpPr>
              <a:spLocks/>
            </p:cNvSpPr>
            <p:nvPr/>
          </p:nvSpPr>
          <p:spPr>
            <a:xfrm>
              <a:off x="8729085" y="5030420"/>
              <a:ext cx="1416005" cy="264342"/>
            </a:xfrm>
            <a:prstGeom prst="rect">
              <a:avLst/>
            </a:prstGeom>
            <a:solidFill>
              <a:srgbClr val="FFC00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r>
                <a:rPr lang="en-US" sz="1200" dirty="0">
                  <a:solidFill>
                    <a:schemeClr val="tx1"/>
                  </a:solidFill>
                </a:rPr>
                <a:t>Knowledge</a:t>
              </a:r>
            </a:p>
          </p:txBody>
        </p:sp>
      </p:grpSp>
      <p:sp>
        <p:nvSpPr>
          <p:cNvPr id="144" name="Rectangle 143"/>
          <p:cNvSpPr>
            <a:spLocks/>
          </p:cNvSpPr>
          <p:nvPr/>
        </p:nvSpPr>
        <p:spPr>
          <a:xfrm>
            <a:off x="1121045" y="5798240"/>
            <a:ext cx="1416005" cy="264342"/>
          </a:xfrm>
          <a:prstGeom prst="rect">
            <a:avLst/>
          </a:pr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en-US" sz="1200" dirty="0">
                <a:solidFill>
                  <a:schemeClr val="bg1"/>
                </a:solidFill>
              </a:rPr>
              <a:t>Change mgmt.</a:t>
            </a:r>
          </a:p>
        </p:txBody>
      </p:sp>
      <p:sp>
        <p:nvSpPr>
          <p:cNvPr id="147" name="Rectangle 146"/>
          <p:cNvSpPr>
            <a:spLocks/>
          </p:cNvSpPr>
          <p:nvPr/>
        </p:nvSpPr>
        <p:spPr>
          <a:xfrm>
            <a:off x="5726009" y="5798240"/>
            <a:ext cx="1416005" cy="264342"/>
          </a:xfrm>
          <a:prstGeom prst="rect">
            <a:avLst/>
          </a:pr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en-US" sz="1200" dirty="0">
                <a:solidFill>
                  <a:schemeClr val="bg1"/>
                </a:solidFill>
              </a:rPr>
              <a:t>Change mgmt.</a:t>
            </a:r>
          </a:p>
        </p:txBody>
      </p:sp>
      <p:sp>
        <p:nvSpPr>
          <p:cNvPr id="150" name="Rectangle 149"/>
          <p:cNvSpPr>
            <a:spLocks/>
          </p:cNvSpPr>
          <p:nvPr/>
        </p:nvSpPr>
        <p:spPr>
          <a:xfrm>
            <a:off x="10234645" y="5798240"/>
            <a:ext cx="1416005" cy="264342"/>
          </a:xfrm>
          <a:prstGeom prst="rect">
            <a:avLst/>
          </a:pr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en-US" sz="1200" dirty="0">
                <a:solidFill>
                  <a:schemeClr val="bg1"/>
                </a:solidFill>
              </a:rPr>
              <a:t>Change mgmt.</a:t>
            </a:r>
          </a:p>
        </p:txBody>
      </p:sp>
      <p:sp>
        <p:nvSpPr>
          <p:cNvPr id="123" name="Rectangle 25"/>
          <p:cNvSpPr txBox="1">
            <a:spLocks/>
          </p:cNvSpPr>
          <p:nvPr>
            <p:custDataLst>
              <p:tags r:id="rId10"/>
            </p:custDataLst>
          </p:nvPr>
        </p:nvSpPr>
        <p:spPr>
          <a:xfrm>
            <a:off x="4228488" y="1784647"/>
            <a:ext cx="1416005" cy="1193061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vert="horz" lIns="74643" tIns="74643" rIns="74643" bIns="74643" rtlCol="0" anchor="t" anchorCtr="0">
            <a:noAutofit/>
          </a:bodyPr>
          <a:lstStyle>
            <a:defPPr>
              <a:defRPr lang="en-US"/>
            </a:defPPr>
            <a:lvl1pPr lvl="0" indent="0" defTabSz="457063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Arial"/>
              <a:buNone/>
            </a:lvl1pPr>
            <a:lvl2pPr marL="0" lvl="1" indent="0" defTabSz="457063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FontTx/>
              <a:buNone/>
              <a:defRPr sz="1400" baseline="0">
                <a:solidFill>
                  <a:schemeClr val="tx2"/>
                </a:solidFill>
              </a:defRPr>
            </a:lvl2pPr>
            <a:lvl3pPr marL="228531" lvl="2" indent="-228531" defTabSz="457063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Font typeface="Lucida Grande"/>
              <a:buChar char="–"/>
              <a:defRPr sz="1400" baseline="0">
                <a:solidFill>
                  <a:schemeClr val="tx2"/>
                </a:solidFill>
              </a:defRPr>
            </a:lvl3pPr>
            <a:lvl4pPr marL="457063" lvl="3" indent="-231705" defTabSz="457063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Font typeface="Arial"/>
              <a:buChar char="•"/>
              <a:defRPr sz="1400">
                <a:solidFill>
                  <a:schemeClr val="tx2"/>
                </a:solidFill>
              </a:defRPr>
            </a:lvl4pPr>
            <a:lvl5pPr marL="685594" lvl="4" indent="-228531" defTabSz="457063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Font typeface="Lucida Grande"/>
              <a:buChar char="–"/>
              <a:defRPr sz="1400">
                <a:solidFill>
                  <a:schemeClr val="tx2"/>
                </a:solidFill>
              </a:defRPr>
            </a:lvl5pPr>
            <a:lvl6pPr marL="917300" lvl="5" indent="-228531" defTabSz="457063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Font typeface="Lucida Grande"/>
              <a:buChar char="»"/>
              <a:defRPr sz="1400" baseline="0">
                <a:solidFill>
                  <a:schemeClr val="tx2"/>
                </a:solidFill>
              </a:defRPr>
            </a:lvl6pPr>
            <a:lvl7pPr marL="1142657" lvl="6" indent="-225357" defTabSz="457063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Font typeface="Arial"/>
              <a:buChar char="•"/>
              <a:defRPr sz="1400">
                <a:solidFill>
                  <a:schemeClr val="tx2"/>
                </a:solidFill>
              </a:defRPr>
            </a:lvl7pPr>
            <a:lvl8pPr marL="3427971" indent="-228531" defTabSz="457063">
              <a:spcBef>
                <a:spcPct val="20000"/>
              </a:spcBef>
              <a:buFont typeface="Arial"/>
              <a:buChar char="•"/>
              <a:defRPr sz="1999"/>
            </a:lvl8pPr>
            <a:lvl9pPr marL="3885034" indent="-228531" defTabSz="457063">
              <a:spcBef>
                <a:spcPct val="20000"/>
              </a:spcBef>
              <a:buFont typeface="Arial"/>
              <a:buChar char="•"/>
              <a:defRPr sz="1999"/>
            </a:lvl9pPr>
          </a:lstStyle>
          <a:p>
            <a:pPr fontAlgn="auto">
              <a:buClr>
                <a:srgbClr val="000000"/>
              </a:buClr>
            </a:pPr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116" name="TextBox 115"/>
          <p:cNvSpPr txBox="1">
            <a:spLocks/>
          </p:cNvSpPr>
          <p:nvPr/>
        </p:nvSpPr>
        <p:spPr>
          <a:xfrm>
            <a:off x="4279262" y="1862224"/>
            <a:ext cx="1314457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lvl="0" indent="0" defTabSz="12178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 baseline="0"/>
            </a:lvl1pPr>
            <a:lvl2pPr marL="192024" lvl="1" indent="-192024" defTabSz="12178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Calibri" panose="020F0502020204030204" pitchFamily="34" charset="0"/>
              <a:buChar char="▪"/>
              <a:defRPr sz="1400" baseline="0"/>
            </a:lvl2pPr>
            <a:lvl3pPr marL="457200" lvl="2" indent="-265176" defTabSz="12178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 baseline="0"/>
            </a:lvl3pPr>
            <a:lvl4pPr marL="612648" lvl="3" indent="-155448" defTabSz="12178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Calibri" panose="020F0502020204030204" pitchFamily="34" charset="0"/>
              <a:buChar char="▫"/>
              <a:defRPr sz="1400" baseline="0"/>
            </a:lvl4pPr>
            <a:lvl5pPr marL="749808" lvl="4" indent="-128016" defTabSz="12178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/>
            </a:lvl5pPr>
            <a:lvl6pPr marL="1019860" indent="-177060" defTabSz="12178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00" baseline="0"/>
            </a:lvl6pPr>
            <a:lvl7pPr marL="1019860" indent="-177060" defTabSz="12178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00" baseline="0"/>
            </a:lvl7pPr>
            <a:lvl8pPr marL="1019860" indent="-177060" defTabSz="12178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00" baseline="0"/>
            </a:lvl8pPr>
            <a:lvl9pPr marL="1019860" indent="-177060" defTabSz="12178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00" baseline="0"/>
            </a:lvl9pPr>
          </a:lstStyle>
          <a:p>
            <a:pPr>
              <a:buClr>
                <a:srgbClr val="FFFFFF"/>
              </a:buClr>
            </a:pPr>
            <a:r>
              <a:rPr lang="en-US" sz="1200" b="1" dirty="0">
                <a:solidFill>
                  <a:schemeClr val="accent4"/>
                </a:solidFill>
                <a:latin typeface="+mn-lt"/>
              </a:rPr>
              <a:t>Sales Play</a:t>
            </a:r>
          </a:p>
          <a:p>
            <a:pPr>
              <a:buClr>
                <a:srgbClr val="FFFFFF"/>
              </a:buClr>
            </a:pPr>
            <a:r>
              <a:rPr lang="en-US" sz="1200" b="1" dirty="0">
                <a:solidFill>
                  <a:schemeClr val="accent4"/>
                </a:solidFill>
                <a:latin typeface="+mn-lt"/>
              </a:rPr>
              <a:t>E-learnings</a:t>
            </a:r>
            <a:endParaRPr lang="en-US" sz="1200" dirty="0">
              <a:solidFill>
                <a:schemeClr val="accent4"/>
              </a:solidFill>
              <a:latin typeface="+mn-lt"/>
            </a:endParaRPr>
          </a:p>
        </p:txBody>
      </p:sp>
      <p:grpSp>
        <p:nvGrpSpPr>
          <p:cNvPr id="15" name="CustomIcon"/>
          <p:cNvGrpSpPr>
            <a:grpSpLocks noChangeAspect="1"/>
          </p:cNvGrpSpPr>
          <p:nvPr>
            <p:custDataLst>
              <p:tags r:id="rId11"/>
            </p:custDataLst>
          </p:nvPr>
        </p:nvGrpSpPr>
        <p:grpSpPr>
          <a:xfrm>
            <a:off x="4679108" y="2482149"/>
            <a:ext cx="514767" cy="343178"/>
            <a:chOff x="1588" y="0"/>
            <a:chExt cx="619125" cy="412750"/>
          </a:xfrm>
          <a:solidFill>
            <a:schemeClr val="accent4"/>
          </a:solidFill>
        </p:grpSpPr>
        <p:sp>
          <p:nvSpPr>
            <p:cNvPr id="13" name="Freeform 30"/>
            <p:cNvSpPr>
              <a:spLocks noEditPoints="1"/>
            </p:cNvSpPr>
            <p:nvPr/>
          </p:nvSpPr>
          <p:spPr bwMode="auto">
            <a:xfrm>
              <a:off x="79375" y="50800"/>
              <a:ext cx="463550" cy="258763"/>
            </a:xfrm>
            <a:custGeom>
              <a:avLst/>
              <a:gdLst>
                <a:gd name="T0" fmla="*/ 317 w 317"/>
                <a:gd name="T1" fmla="*/ 9 h 176"/>
                <a:gd name="T2" fmla="*/ 308 w 317"/>
                <a:gd name="T3" fmla="*/ 0 h 176"/>
                <a:gd name="T4" fmla="*/ 9 w 317"/>
                <a:gd name="T5" fmla="*/ 0 h 176"/>
                <a:gd name="T6" fmla="*/ 0 w 317"/>
                <a:gd name="T7" fmla="*/ 9 h 176"/>
                <a:gd name="T8" fmla="*/ 0 w 317"/>
                <a:gd name="T9" fmla="*/ 167 h 176"/>
                <a:gd name="T10" fmla="*/ 9 w 317"/>
                <a:gd name="T11" fmla="*/ 176 h 176"/>
                <a:gd name="T12" fmla="*/ 308 w 317"/>
                <a:gd name="T13" fmla="*/ 176 h 176"/>
                <a:gd name="T14" fmla="*/ 317 w 317"/>
                <a:gd name="T15" fmla="*/ 167 h 176"/>
                <a:gd name="T16" fmla="*/ 317 w 317"/>
                <a:gd name="T17" fmla="*/ 9 h 176"/>
                <a:gd name="T18" fmla="*/ 317 w 317"/>
                <a:gd name="T19" fmla="*/ 9 h 176"/>
                <a:gd name="T20" fmla="*/ 299 w 317"/>
                <a:gd name="T21" fmla="*/ 158 h 176"/>
                <a:gd name="T22" fmla="*/ 17 w 317"/>
                <a:gd name="T23" fmla="*/ 158 h 176"/>
                <a:gd name="T24" fmla="*/ 17 w 317"/>
                <a:gd name="T25" fmla="*/ 17 h 176"/>
                <a:gd name="T26" fmla="*/ 299 w 317"/>
                <a:gd name="T27" fmla="*/ 17 h 176"/>
                <a:gd name="T28" fmla="*/ 299 w 317"/>
                <a:gd name="T29" fmla="*/ 158 h 176"/>
                <a:gd name="T30" fmla="*/ 299 w 317"/>
                <a:gd name="T31" fmla="*/ 158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17" h="176">
                  <a:moveTo>
                    <a:pt x="317" y="9"/>
                  </a:moveTo>
                  <a:cubicBezTo>
                    <a:pt x="317" y="4"/>
                    <a:pt x="313" y="0"/>
                    <a:pt x="308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67"/>
                    <a:pt x="0" y="167"/>
                    <a:pt x="0" y="167"/>
                  </a:cubicBezTo>
                  <a:cubicBezTo>
                    <a:pt x="0" y="172"/>
                    <a:pt x="4" y="176"/>
                    <a:pt x="9" y="176"/>
                  </a:cubicBezTo>
                  <a:cubicBezTo>
                    <a:pt x="308" y="176"/>
                    <a:pt x="308" y="176"/>
                    <a:pt x="308" y="176"/>
                  </a:cubicBezTo>
                  <a:cubicBezTo>
                    <a:pt x="313" y="176"/>
                    <a:pt x="317" y="172"/>
                    <a:pt x="317" y="167"/>
                  </a:cubicBezTo>
                  <a:cubicBezTo>
                    <a:pt x="317" y="9"/>
                    <a:pt x="317" y="9"/>
                    <a:pt x="317" y="9"/>
                  </a:cubicBezTo>
                  <a:cubicBezTo>
                    <a:pt x="317" y="9"/>
                    <a:pt x="317" y="9"/>
                    <a:pt x="317" y="9"/>
                  </a:cubicBezTo>
                  <a:close/>
                  <a:moveTo>
                    <a:pt x="299" y="158"/>
                  </a:moveTo>
                  <a:cubicBezTo>
                    <a:pt x="17" y="158"/>
                    <a:pt x="17" y="158"/>
                    <a:pt x="17" y="158"/>
                  </a:cubicBezTo>
                  <a:cubicBezTo>
                    <a:pt x="17" y="17"/>
                    <a:pt x="17" y="17"/>
                    <a:pt x="17" y="17"/>
                  </a:cubicBezTo>
                  <a:cubicBezTo>
                    <a:pt x="299" y="17"/>
                    <a:pt x="299" y="17"/>
                    <a:pt x="299" y="17"/>
                  </a:cubicBezTo>
                  <a:cubicBezTo>
                    <a:pt x="299" y="158"/>
                    <a:pt x="299" y="158"/>
                    <a:pt x="299" y="158"/>
                  </a:cubicBezTo>
                  <a:cubicBezTo>
                    <a:pt x="299" y="158"/>
                    <a:pt x="299" y="158"/>
                    <a:pt x="299" y="15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0" cap="flat" cmpd="sng" algn="ctr">
                  <a:solidFill>
                    <a:srgbClr val="FFFFFF">
                      <a:alpha val="0"/>
                    </a:srgbClr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vert="horz" wrap="square" lIns="89595" tIns="44797" rIns="89595" bIns="44797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solidFill>
                  <a:srgbClr val="000000"/>
                </a:solidFill>
                <a:latin typeface="+mn-lt"/>
              </a:endParaRPr>
            </a:p>
          </p:txBody>
        </p:sp>
        <p:sp>
          <p:nvSpPr>
            <p:cNvPr id="14" name="Freeform 31"/>
            <p:cNvSpPr>
              <a:spLocks noEditPoints="1"/>
            </p:cNvSpPr>
            <p:nvPr/>
          </p:nvSpPr>
          <p:spPr bwMode="auto">
            <a:xfrm>
              <a:off x="1588" y="0"/>
              <a:ext cx="619125" cy="412750"/>
            </a:xfrm>
            <a:custGeom>
              <a:avLst/>
              <a:gdLst>
                <a:gd name="T0" fmla="*/ 414 w 423"/>
                <a:gd name="T1" fmla="*/ 229 h 282"/>
                <a:gd name="T2" fmla="*/ 405 w 423"/>
                <a:gd name="T3" fmla="*/ 229 h 282"/>
                <a:gd name="T4" fmla="*/ 405 w 423"/>
                <a:gd name="T5" fmla="*/ 27 h 282"/>
                <a:gd name="T6" fmla="*/ 378 w 423"/>
                <a:gd name="T7" fmla="*/ 0 h 282"/>
                <a:gd name="T8" fmla="*/ 45 w 423"/>
                <a:gd name="T9" fmla="*/ 0 h 282"/>
                <a:gd name="T10" fmla="*/ 18 w 423"/>
                <a:gd name="T11" fmla="*/ 27 h 282"/>
                <a:gd name="T12" fmla="*/ 18 w 423"/>
                <a:gd name="T13" fmla="*/ 229 h 282"/>
                <a:gd name="T14" fmla="*/ 9 w 423"/>
                <a:gd name="T15" fmla="*/ 229 h 282"/>
                <a:gd name="T16" fmla="*/ 0 w 423"/>
                <a:gd name="T17" fmla="*/ 238 h 282"/>
                <a:gd name="T18" fmla="*/ 0 w 423"/>
                <a:gd name="T19" fmla="*/ 255 h 282"/>
                <a:gd name="T20" fmla="*/ 26 w 423"/>
                <a:gd name="T21" fmla="*/ 282 h 282"/>
                <a:gd name="T22" fmla="*/ 397 w 423"/>
                <a:gd name="T23" fmla="*/ 282 h 282"/>
                <a:gd name="T24" fmla="*/ 423 w 423"/>
                <a:gd name="T25" fmla="*/ 255 h 282"/>
                <a:gd name="T26" fmla="*/ 423 w 423"/>
                <a:gd name="T27" fmla="*/ 238 h 282"/>
                <a:gd name="T28" fmla="*/ 414 w 423"/>
                <a:gd name="T29" fmla="*/ 229 h 282"/>
                <a:gd name="T30" fmla="*/ 35 w 423"/>
                <a:gd name="T31" fmla="*/ 27 h 282"/>
                <a:gd name="T32" fmla="*/ 45 w 423"/>
                <a:gd name="T33" fmla="*/ 17 h 282"/>
                <a:gd name="T34" fmla="*/ 378 w 423"/>
                <a:gd name="T35" fmla="*/ 17 h 282"/>
                <a:gd name="T36" fmla="*/ 387 w 423"/>
                <a:gd name="T37" fmla="*/ 27 h 282"/>
                <a:gd name="T38" fmla="*/ 387 w 423"/>
                <a:gd name="T39" fmla="*/ 229 h 282"/>
                <a:gd name="T40" fmla="*/ 35 w 423"/>
                <a:gd name="T41" fmla="*/ 229 h 282"/>
                <a:gd name="T42" fmla="*/ 35 w 423"/>
                <a:gd name="T43" fmla="*/ 27 h 282"/>
                <a:gd name="T44" fmla="*/ 35 w 423"/>
                <a:gd name="T45" fmla="*/ 27 h 282"/>
                <a:gd name="T46" fmla="*/ 405 w 423"/>
                <a:gd name="T47" fmla="*/ 255 h 282"/>
                <a:gd name="T48" fmla="*/ 397 w 423"/>
                <a:gd name="T49" fmla="*/ 264 h 282"/>
                <a:gd name="T50" fmla="*/ 26 w 423"/>
                <a:gd name="T51" fmla="*/ 264 h 282"/>
                <a:gd name="T52" fmla="*/ 17 w 423"/>
                <a:gd name="T53" fmla="*/ 255 h 282"/>
                <a:gd name="T54" fmla="*/ 17 w 423"/>
                <a:gd name="T55" fmla="*/ 246 h 282"/>
                <a:gd name="T56" fmla="*/ 27 w 423"/>
                <a:gd name="T57" fmla="*/ 246 h 282"/>
                <a:gd name="T58" fmla="*/ 396 w 423"/>
                <a:gd name="T59" fmla="*/ 246 h 282"/>
                <a:gd name="T60" fmla="*/ 405 w 423"/>
                <a:gd name="T61" fmla="*/ 246 h 282"/>
                <a:gd name="T62" fmla="*/ 405 w 423"/>
                <a:gd name="T63" fmla="*/ 255 h 282"/>
                <a:gd name="T64" fmla="*/ 405 w 423"/>
                <a:gd name="T65" fmla="*/ 255 h 2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23" h="282">
                  <a:moveTo>
                    <a:pt x="414" y="229"/>
                  </a:moveTo>
                  <a:cubicBezTo>
                    <a:pt x="405" y="229"/>
                    <a:pt x="405" y="229"/>
                    <a:pt x="405" y="229"/>
                  </a:cubicBezTo>
                  <a:cubicBezTo>
                    <a:pt x="405" y="27"/>
                    <a:pt x="405" y="27"/>
                    <a:pt x="405" y="27"/>
                  </a:cubicBezTo>
                  <a:cubicBezTo>
                    <a:pt x="405" y="12"/>
                    <a:pt x="393" y="0"/>
                    <a:pt x="378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30" y="0"/>
                    <a:pt x="18" y="12"/>
                    <a:pt x="18" y="27"/>
                  </a:cubicBezTo>
                  <a:cubicBezTo>
                    <a:pt x="18" y="229"/>
                    <a:pt x="18" y="229"/>
                    <a:pt x="18" y="229"/>
                  </a:cubicBezTo>
                  <a:cubicBezTo>
                    <a:pt x="9" y="229"/>
                    <a:pt x="9" y="229"/>
                    <a:pt x="9" y="229"/>
                  </a:cubicBezTo>
                  <a:cubicBezTo>
                    <a:pt x="4" y="229"/>
                    <a:pt x="0" y="233"/>
                    <a:pt x="0" y="238"/>
                  </a:cubicBezTo>
                  <a:cubicBezTo>
                    <a:pt x="0" y="255"/>
                    <a:pt x="0" y="255"/>
                    <a:pt x="0" y="255"/>
                  </a:cubicBezTo>
                  <a:cubicBezTo>
                    <a:pt x="0" y="270"/>
                    <a:pt x="12" y="282"/>
                    <a:pt x="26" y="282"/>
                  </a:cubicBezTo>
                  <a:cubicBezTo>
                    <a:pt x="397" y="282"/>
                    <a:pt x="397" y="282"/>
                    <a:pt x="397" y="282"/>
                  </a:cubicBezTo>
                  <a:cubicBezTo>
                    <a:pt x="411" y="282"/>
                    <a:pt x="423" y="270"/>
                    <a:pt x="423" y="255"/>
                  </a:cubicBezTo>
                  <a:cubicBezTo>
                    <a:pt x="423" y="238"/>
                    <a:pt x="423" y="238"/>
                    <a:pt x="423" y="238"/>
                  </a:cubicBezTo>
                  <a:cubicBezTo>
                    <a:pt x="423" y="233"/>
                    <a:pt x="419" y="229"/>
                    <a:pt x="414" y="229"/>
                  </a:cubicBezTo>
                  <a:close/>
                  <a:moveTo>
                    <a:pt x="35" y="27"/>
                  </a:moveTo>
                  <a:cubicBezTo>
                    <a:pt x="35" y="22"/>
                    <a:pt x="40" y="17"/>
                    <a:pt x="45" y="17"/>
                  </a:cubicBezTo>
                  <a:cubicBezTo>
                    <a:pt x="378" y="17"/>
                    <a:pt x="378" y="17"/>
                    <a:pt x="378" y="17"/>
                  </a:cubicBezTo>
                  <a:cubicBezTo>
                    <a:pt x="383" y="17"/>
                    <a:pt x="387" y="22"/>
                    <a:pt x="387" y="27"/>
                  </a:cubicBezTo>
                  <a:cubicBezTo>
                    <a:pt x="387" y="229"/>
                    <a:pt x="387" y="229"/>
                    <a:pt x="387" y="229"/>
                  </a:cubicBezTo>
                  <a:cubicBezTo>
                    <a:pt x="35" y="229"/>
                    <a:pt x="35" y="229"/>
                    <a:pt x="35" y="229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lose/>
                  <a:moveTo>
                    <a:pt x="405" y="255"/>
                  </a:moveTo>
                  <a:cubicBezTo>
                    <a:pt x="405" y="260"/>
                    <a:pt x="401" y="264"/>
                    <a:pt x="397" y="264"/>
                  </a:cubicBezTo>
                  <a:cubicBezTo>
                    <a:pt x="26" y="264"/>
                    <a:pt x="26" y="264"/>
                    <a:pt x="26" y="264"/>
                  </a:cubicBezTo>
                  <a:cubicBezTo>
                    <a:pt x="21" y="264"/>
                    <a:pt x="17" y="260"/>
                    <a:pt x="17" y="255"/>
                  </a:cubicBezTo>
                  <a:cubicBezTo>
                    <a:pt x="17" y="246"/>
                    <a:pt x="17" y="246"/>
                    <a:pt x="17" y="246"/>
                  </a:cubicBezTo>
                  <a:cubicBezTo>
                    <a:pt x="27" y="246"/>
                    <a:pt x="27" y="246"/>
                    <a:pt x="27" y="246"/>
                  </a:cubicBezTo>
                  <a:cubicBezTo>
                    <a:pt x="396" y="246"/>
                    <a:pt x="396" y="246"/>
                    <a:pt x="396" y="246"/>
                  </a:cubicBezTo>
                  <a:cubicBezTo>
                    <a:pt x="405" y="246"/>
                    <a:pt x="405" y="246"/>
                    <a:pt x="405" y="246"/>
                  </a:cubicBezTo>
                  <a:cubicBezTo>
                    <a:pt x="405" y="255"/>
                    <a:pt x="405" y="255"/>
                    <a:pt x="405" y="255"/>
                  </a:cubicBezTo>
                  <a:cubicBezTo>
                    <a:pt x="405" y="255"/>
                    <a:pt x="405" y="255"/>
                    <a:pt x="405" y="2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0" cap="flat" cmpd="sng" algn="ctr">
                  <a:solidFill>
                    <a:srgbClr val="FFFFFF">
                      <a:alpha val="0"/>
                    </a:srgbClr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vert="horz" wrap="square" lIns="89595" tIns="44797" rIns="89595" bIns="44797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solidFill>
                  <a:srgbClr val="000000"/>
                </a:solidFill>
                <a:latin typeface="+mn-lt"/>
              </a:endParaRPr>
            </a:p>
          </p:txBody>
        </p:sp>
      </p:grpSp>
      <p:sp>
        <p:nvSpPr>
          <p:cNvPr id="124" name="Rectangle 25"/>
          <p:cNvSpPr txBox="1">
            <a:spLocks/>
          </p:cNvSpPr>
          <p:nvPr>
            <p:custDataLst>
              <p:tags r:id="rId12"/>
            </p:custDataLst>
          </p:nvPr>
        </p:nvSpPr>
        <p:spPr>
          <a:xfrm>
            <a:off x="1121044" y="1784647"/>
            <a:ext cx="1416005" cy="1193061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vert="horz" lIns="74643" tIns="74643" rIns="74643" bIns="74643" rtlCol="0" anchor="t" anchorCtr="0">
            <a:noAutofit/>
          </a:bodyPr>
          <a:lstStyle>
            <a:defPPr>
              <a:defRPr lang="en-US"/>
            </a:defPPr>
            <a:lvl1pPr lvl="0" indent="0" defTabSz="457063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Arial"/>
              <a:buNone/>
            </a:lvl1pPr>
            <a:lvl2pPr marL="0" lvl="1" indent="0" defTabSz="457063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FontTx/>
              <a:buNone/>
              <a:defRPr sz="1400" baseline="0">
                <a:solidFill>
                  <a:schemeClr val="tx2"/>
                </a:solidFill>
              </a:defRPr>
            </a:lvl2pPr>
            <a:lvl3pPr marL="228531" lvl="2" indent="-228531" defTabSz="457063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Font typeface="Lucida Grande"/>
              <a:buChar char="–"/>
              <a:defRPr sz="1400" baseline="0">
                <a:solidFill>
                  <a:schemeClr val="tx2"/>
                </a:solidFill>
              </a:defRPr>
            </a:lvl3pPr>
            <a:lvl4pPr marL="457063" lvl="3" indent="-231705" defTabSz="457063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Font typeface="Arial"/>
              <a:buChar char="•"/>
              <a:defRPr sz="1400">
                <a:solidFill>
                  <a:schemeClr val="tx2"/>
                </a:solidFill>
              </a:defRPr>
            </a:lvl4pPr>
            <a:lvl5pPr marL="685594" lvl="4" indent="-228531" defTabSz="457063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Font typeface="Lucida Grande"/>
              <a:buChar char="–"/>
              <a:defRPr sz="1400">
                <a:solidFill>
                  <a:schemeClr val="tx2"/>
                </a:solidFill>
              </a:defRPr>
            </a:lvl5pPr>
            <a:lvl6pPr marL="917300" lvl="5" indent="-228531" defTabSz="457063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Font typeface="Lucida Grande"/>
              <a:buChar char="»"/>
              <a:defRPr sz="1400" baseline="0">
                <a:solidFill>
                  <a:schemeClr val="tx2"/>
                </a:solidFill>
              </a:defRPr>
            </a:lvl6pPr>
            <a:lvl7pPr marL="1142657" lvl="6" indent="-225357" defTabSz="457063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Font typeface="Arial"/>
              <a:buChar char="•"/>
              <a:defRPr sz="1400">
                <a:solidFill>
                  <a:schemeClr val="tx2"/>
                </a:solidFill>
              </a:defRPr>
            </a:lvl7pPr>
            <a:lvl8pPr marL="3427971" indent="-228531" defTabSz="457063">
              <a:spcBef>
                <a:spcPct val="20000"/>
              </a:spcBef>
              <a:buFont typeface="Arial"/>
              <a:buChar char="•"/>
              <a:defRPr sz="1999"/>
            </a:lvl8pPr>
            <a:lvl9pPr marL="3885034" indent="-228531" defTabSz="457063">
              <a:spcBef>
                <a:spcPct val="20000"/>
              </a:spcBef>
              <a:buFont typeface="Arial"/>
              <a:buChar char="•"/>
              <a:defRPr sz="1999"/>
            </a:lvl9pPr>
          </a:lstStyle>
          <a:p>
            <a:pPr fontAlgn="auto">
              <a:buClr>
                <a:srgbClr val="000000"/>
              </a:buClr>
            </a:pPr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117" name="TextBox 116"/>
          <p:cNvSpPr txBox="1">
            <a:spLocks/>
          </p:cNvSpPr>
          <p:nvPr/>
        </p:nvSpPr>
        <p:spPr>
          <a:xfrm>
            <a:off x="1171818" y="1869918"/>
            <a:ext cx="1314457" cy="5539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lvl="0" indent="0" defTabSz="12178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 baseline="0"/>
            </a:lvl1pPr>
            <a:lvl2pPr marL="192024" lvl="1" indent="-192024" defTabSz="12178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Calibri" panose="020F0502020204030204" pitchFamily="34" charset="0"/>
              <a:buChar char="▪"/>
              <a:defRPr sz="1400" baseline="0"/>
            </a:lvl2pPr>
            <a:lvl3pPr marL="457200" lvl="2" indent="-265176" defTabSz="12178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 baseline="0"/>
            </a:lvl3pPr>
            <a:lvl4pPr marL="612648" lvl="3" indent="-155448" defTabSz="12178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Calibri" panose="020F0502020204030204" pitchFamily="34" charset="0"/>
              <a:buChar char="▫"/>
              <a:defRPr sz="1400" baseline="0"/>
            </a:lvl4pPr>
            <a:lvl5pPr marL="749808" lvl="4" indent="-128016" defTabSz="12178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/>
            </a:lvl5pPr>
            <a:lvl6pPr marL="1019860" indent="-177060" defTabSz="12178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00" baseline="0"/>
            </a:lvl6pPr>
            <a:lvl7pPr marL="1019860" indent="-177060" defTabSz="12178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00" baseline="0"/>
            </a:lvl7pPr>
            <a:lvl8pPr marL="1019860" indent="-177060" defTabSz="12178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00" baseline="0"/>
            </a:lvl8pPr>
            <a:lvl9pPr marL="1019860" indent="-177060" defTabSz="12178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00" baseline="0"/>
            </a:lvl9pPr>
          </a:lstStyle>
          <a:p>
            <a:pPr>
              <a:buClr>
                <a:srgbClr val="FFFFFF"/>
              </a:buClr>
            </a:pPr>
            <a:r>
              <a:rPr lang="en-US" sz="1200" b="1" dirty="0">
                <a:solidFill>
                  <a:schemeClr val="accent4"/>
                </a:solidFill>
                <a:latin typeface="+mn-lt"/>
              </a:rPr>
              <a:t>Industry </a:t>
            </a:r>
          </a:p>
          <a:p>
            <a:pPr>
              <a:buClr>
                <a:srgbClr val="FFFFFF"/>
              </a:buClr>
            </a:pPr>
            <a:r>
              <a:rPr lang="en-US" sz="1200" b="1" dirty="0">
                <a:solidFill>
                  <a:schemeClr val="accent4"/>
                </a:solidFill>
                <a:latin typeface="+mn-lt"/>
              </a:rPr>
              <a:t>Revolution Workshop</a:t>
            </a:r>
          </a:p>
        </p:txBody>
      </p:sp>
      <p:grpSp>
        <p:nvGrpSpPr>
          <p:cNvPr id="23" name="CustomIcon"/>
          <p:cNvGrpSpPr>
            <a:grpSpLocks noChangeAspect="1"/>
          </p:cNvGrpSpPr>
          <p:nvPr>
            <p:custDataLst>
              <p:tags r:id="rId13"/>
            </p:custDataLst>
          </p:nvPr>
        </p:nvGrpSpPr>
        <p:grpSpPr>
          <a:xfrm>
            <a:off x="1643348" y="2467083"/>
            <a:ext cx="371398" cy="373313"/>
            <a:chOff x="0" y="-1588"/>
            <a:chExt cx="615951" cy="619126"/>
          </a:xfrm>
          <a:solidFill>
            <a:schemeClr val="accent4"/>
          </a:solidFill>
        </p:grpSpPr>
        <p:sp>
          <p:nvSpPr>
            <p:cNvPr id="20" name="Freeform 35"/>
            <p:cNvSpPr>
              <a:spLocks/>
            </p:cNvSpPr>
            <p:nvPr/>
          </p:nvSpPr>
          <p:spPr bwMode="auto">
            <a:xfrm>
              <a:off x="231775" y="490538"/>
              <a:ext cx="26988" cy="127000"/>
            </a:xfrm>
            <a:custGeom>
              <a:avLst/>
              <a:gdLst>
                <a:gd name="T0" fmla="*/ 9 w 18"/>
                <a:gd name="T1" fmla="*/ 0 h 87"/>
                <a:gd name="T2" fmla="*/ 0 w 18"/>
                <a:gd name="T3" fmla="*/ 9 h 87"/>
                <a:gd name="T4" fmla="*/ 0 w 18"/>
                <a:gd name="T5" fmla="*/ 87 h 87"/>
                <a:gd name="T6" fmla="*/ 18 w 18"/>
                <a:gd name="T7" fmla="*/ 87 h 87"/>
                <a:gd name="T8" fmla="*/ 18 w 18"/>
                <a:gd name="T9" fmla="*/ 9 h 87"/>
                <a:gd name="T10" fmla="*/ 9 w 18"/>
                <a:gd name="T11" fmla="*/ 0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" h="87">
                  <a:moveTo>
                    <a:pt x="9" y="0"/>
                  </a:moveTo>
                  <a:cubicBezTo>
                    <a:pt x="4" y="0"/>
                    <a:pt x="0" y="3"/>
                    <a:pt x="0" y="9"/>
                  </a:cubicBezTo>
                  <a:cubicBezTo>
                    <a:pt x="0" y="87"/>
                    <a:pt x="0" y="87"/>
                    <a:pt x="0" y="87"/>
                  </a:cubicBezTo>
                  <a:cubicBezTo>
                    <a:pt x="18" y="87"/>
                    <a:pt x="18" y="87"/>
                    <a:pt x="18" y="87"/>
                  </a:cubicBezTo>
                  <a:cubicBezTo>
                    <a:pt x="18" y="9"/>
                    <a:pt x="18" y="9"/>
                    <a:pt x="18" y="9"/>
                  </a:cubicBezTo>
                  <a:cubicBezTo>
                    <a:pt x="18" y="3"/>
                    <a:pt x="14" y="0"/>
                    <a:pt x="9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0" cap="flat" cmpd="sng" algn="ctr">
                  <a:solidFill>
                    <a:srgbClr val="FFFFFF">
                      <a:alpha val="0"/>
                    </a:srgbClr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vert="horz" wrap="square" lIns="89595" tIns="44797" rIns="89595" bIns="44797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solidFill>
                  <a:srgbClr val="000000"/>
                </a:solidFill>
                <a:latin typeface="+mn-lt"/>
              </a:endParaRPr>
            </a:p>
          </p:txBody>
        </p:sp>
        <p:sp>
          <p:nvSpPr>
            <p:cNvPr id="21" name="Freeform 36"/>
            <p:cNvSpPr>
              <a:spLocks/>
            </p:cNvSpPr>
            <p:nvPr/>
          </p:nvSpPr>
          <p:spPr bwMode="auto">
            <a:xfrm>
              <a:off x="355600" y="490538"/>
              <a:ext cx="25400" cy="127000"/>
            </a:xfrm>
            <a:custGeom>
              <a:avLst/>
              <a:gdLst>
                <a:gd name="T0" fmla="*/ 9 w 18"/>
                <a:gd name="T1" fmla="*/ 0 h 87"/>
                <a:gd name="T2" fmla="*/ 0 w 18"/>
                <a:gd name="T3" fmla="*/ 9 h 87"/>
                <a:gd name="T4" fmla="*/ 0 w 18"/>
                <a:gd name="T5" fmla="*/ 87 h 87"/>
                <a:gd name="T6" fmla="*/ 18 w 18"/>
                <a:gd name="T7" fmla="*/ 87 h 87"/>
                <a:gd name="T8" fmla="*/ 18 w 18"/>
                <a:gd name="T9" fmla="*/ 9 h 87"/>
                <a:gd name="T10" fmla="*/ 9 w 18"/>
                <a:gd name="T11" fmla="*/ 0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" h="87">
                  <a:moveTo>
                    <a:pt x="9" y="0"/>
                  </a:moveTo>
                  <a:cubicBezTo>
                    <a:pt x="4" y="0"/>
                    <a:pt x="0" y="3"/>
                    <a:pt x="0" y="9"/>
                  </a:cubicBezTo>
                  <a:cubicBezTo>
                    <a:pt x="0" y="87"/>
                    <a:pt x="0" y="87"/>
                    <a:pt x="0" y="87"/>
                  </a:cubicBezTo>
                  <a:cubicBezTo>
                    <a:pt x="18" y="87"/>
                    <a:pt x="18" y="87"/>
                    <a:pt x="18" y="87"/>
                  </a:cubicBezTo>
                  <a:cubicBezTo>
                    <a:pt x="18" y="9"/>
                    <a:pt x="18" y="9"/>
                    <a:pt x="18" y="9"/>
                  </a:cubicBezTo>
                  <a:cubicBezTo>
                    <a:pt x="18" y="3"/>
                    <a:pt x="13" y="0"/>
                    <a:pt x="9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0" cap="flat" cmpd="sng" algn="ctr">
                  <a:solidFill>
                    <a:srgbClr val="FFFFFF">
                      <a:alpha val="0"/>
                    </a:srgbClr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vert="horz" wrap="square" lIns="89595" tIns="44797" rIns="89595" bIns="44797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solidFill>
                  <a:srgbClr val="000000"/>
                </a:solidFill>
                <a:latin typeface="+mn-lt"/>
              </a:endParaRPr>
            </a:p>
          </p:txBody>
        </p:sp>
        <p:sp>
          <p:nvSpPr>
            <p:cNvPr id="22" name="Freeform 37"/>
            <p:cNvSpPr>
              <a:spLocks noEditPoints="1"/>
            </p:cNvSpPr>
            <p:nvPr/>
          </p:nvSpPr>
          <p:spPr bwMode="auto">
            <a:xfrm>
              <a:off x="0" y="-1588"/>
              <a:ext cx="615951" cy="619126"/>
            </a:xfrm>
            <a:custGeom>
              <a:avLst/>
              <a:gdLst>
                <a:gd name="T0" fmla="*/ 378 w 421"/>
                <a:gd name="T1" fmla="*/ 190 h 424"/>
                <a:gd name="T2" fmla="*/ 377 w 421"/>
                <a:gd name="T3" fmla="*/ 89 h 424"/>
                <a:gd name="T4" fmla="*/ 329 w 421"/>
                <a:gd name="T5" fmla="*/ 107 h 424"/>
                <a:gd name="T6" fmla="*/ 261 w 421"/>
                <a:gd name="T7" fmla="*/ 53 h 424"/>
                <a:gd name="T8" fmla="*/ 261 w 421"/>
                <a:gd name="T9" fmla="*/ 51 h 424"/>
                <a:gd name="T10" fmla="*/ 159 w 421"/>
                <a:gd name="T11" fmla="*/ 51 h 424"/>
                <a:gd name="T12" fmla="*/ 159 w 421"/>
                <a:gd name="T13" fmla="*/ 53 h 424"/>
                <a:gd name="T14" fmla="*/ 90 w 421"/>
                <a:gd name="T15" fmla="*/ 108 h 424"/>
                <a:gd name="T16" fmla="*/ 0 w 421"/>
                <a:gd name="T17" fmla="*/ 141 h 424"/>
                <a:gd name="T18" fmla="*/ 42 w 421"/>
                <a:gd name="T19" fmla="*/ 259 h 424"/>
                <a:gd name="T20" fmla="*/ 0 w 421"/>
                <a:gd name="T21" fmla="*/ 310 h 424"/>
                <a:gd name="T22" fmla="*/ 90 w 421"/>
                <a:gd name="T23" fmla="*/ 344 h 424"/>
                <a:gd name="T24" fmla="*/ 123 w 421"/>
                <a:gd name="T25" fmla="*/ 424 h 424"/>
                <a:gd name="T26" fmla="*/ 141 w 421"/>
                <a:gd name="T27" fmla="*/ 333 h 424"/>
                <a:gd name="T28" fmla="*/ 249 w 421"/>
                <a:gd name="T29" fmla="*/ 303 h 424"/>
                <a:gd name="T30" fmla="*/ 279 w 421"/>
                <a:gd name="T31" fmla="*/ 424 h 424"/>
                <a:gd name="T32" fmla="*/ 297 w 421"/>
                <a:gd name="T33" fmla="*/ 362 h 424"/>
                <a:gd name="T34" fmla="*/ 369 w 421"/>
                <a:gd name="T35" fmla="*/ 360 h 424"/>
                <a:gd name="T36" fmla="*/ 415 w 421"/>
                <a:gd name="T37" fmla="*/ 286 h 424"/>
                <a:gd name="T38" fmla="*/ 369 w 421"/>
                <a:gd name="T39" fmla="*/ 105 h 424"/>
                <a:gd name="T40" fmla="*/ 369 w 421"/>
                <a:gd name="T41" fmla="*/ 173 h 424"/>
                <a:gd name="T42" fmla="*/ 369 w 421"/>
                <a:gd name="T43" fmla="*/ 105 h 424"/>
                <a:gd name="T44" fmla="*/ 243 w 421"/>
                <a:gd name="T45" fmla="*/ 52 h 424"/>
                <a:gd name="T46" fmla="*/ 177 w 421"/>
                <a:gd name="T47" fmla="*/ 52 h 424"/>
                <a:gd name="T48" fmla="*/ 170 w 421"/>
                <a:gd name="T49" fmla="*/ 84 h 424"/>
                <a:gd name="T50" fmla="*/ 250 w 421"/>
                <a:gd name="T51" fmla="*/ 84 h 424"/>
                <a:gd name="T52" fmla="*/ 318 w 421"/>
                <a:gd name="T53" fmla="*/ 139 h 424"/>
                <a:gd name="T54" fmla="*/ 248 w 421"/>
                <a:gd name="T55" fmla="*/ 195 h 424"/>
                <a:gd name="T56" fmla="*/ 173 w 421"/>
                <a:gd name="T57" fmla="*/ 195 h 424"/>
                <a:gd name="T58" fmla="*/ 102 w 421"/>
                <a:gd name="T59" fmla="*/ 141 h 424"/>
                <a:gd name="T60" fmla="*/ 170 w 421"/>
                <a:gd name="T61" fmla="*/ 84 h 424"/>
                <a:gd name="T62" fmla="*/ 241 w 421"/>
                <a:gd name="T63" fmla="*/ 226 h 424"/>
                <a:gd name="T64" fmla="*/ 179 w 421"/>
                <a:gd name="T65" fmla="*/ 226 h 424"/>
                <a:gd name="T66" fmla="*/ 241 w 421"/>
                <a:gd name="T67" fmla="*/ 226 h 424"/>
                <a:gd name="T68" fmla="*/ 51 w 421"/>
                <a:gd name="T69" fmla="*/ 108 h 424"/>
                <a:gd name="T70" fmla="*/ 51 w 421"/>
                <a:gd name="T71" fmla="*/ 175 h 424"/>
                <a:gd name="T72" fmla="*/ 51 w 421"/>
                <a:gd name="T73" fmla="*/ 343 h 424"/>
                <a:gd name="T74" fmla="*/ 51 w 421"/>
                <a:gd name="T75" fmla="*/ 276 h 424"/>
                <a:gd name="T76" fmla="*/ 51 w 421"/>
                <a:gd name="T77" fmla="*/ 343 h 424"/>
                <a:gd name="T78" fmla="*/ 60 w 421"/>
                <a:gd name="T79" fmla="*/ 192 h 424"/>
                <a:gd name="T80" fmla="*/ 164 w 421"/>
                <a:gd name="T81" fmla="*/ 211 h 424"/>
                <a:gd name="T82" fmla="*/ 164 w 421"/>
                <a:gd name="T83" fmla="*/ 240 h 424"/>
                <a:gd name="T84" fmla="*/ 60 w 421"/>
                <a:gd name="T85" fmla="*/ 259 h 424"/>
                <a:gd name="T86" fmla="*/ 297 w 421"/>
                <a:gd name="T87" fmla="*/ 333 h 424"/>
                <a:gd name="T88" fmla="*/ 171 w 421"/>
                <a:gd name="T89" fmla="*/ 285 h 424"/>
                <a:gd name="T90" fmla="*/ 123 w 421"/>
                <a:gd name="T91" fmla="*/ 341 h 424"/>
                <a:gd name="T92" fmla="*/ 102 w 421"/>
                <a:gd name="T93" fmla="*/ 310 h 424"/>
                <a:gd name="T94" fmla="*/ 173 w 421"/>
                <a:gd name="T95" fmla="*/ 256 h 424"/>
                <a:gd name="T96" fmla="*/ 248 w 421"/>
                <a:gd name="T97" fmla="*/ 256 h 424"/>
                <a:gd name="T98" fmla="*/ 318 w 421"/>
                <a:gd name="T99" fmla="*/ 308 h 424"/>
                <a:gd name="T100" fmla="*/ 297 w 421"/>
                <a:gd name="T101" fmla="*/ 341 h 424"/>
                <a:gd name="T102" fmla="*/ 327 w 421"/>
                <a:gd name="T103" fmla="*/ 278 h 424"/>
                <a:gd name="T104" fmla="*/ 259 w 421"/>
                <a:gd name="T105" fmla="*/ 226 h 424"/>
                <a:gd name="T106" fmla="*/ 329 w 421"/>
                <a:gd name="T107" fmla="*/ 172 h 424"/>
                <a:gd name="T108" fmla="*/ 360 w 421"/>
                <a:gd name="T109" fmla="*/ 257 h 424"/>
                <a:gd name="T110" fmla="*/ 369 w 421"/>
                <a:gd name="T111" fmla="*/ 341 h 424"/>
                <a:gd name="T112" fmla="*/ 369 w 421"/>
                <a:gd name="T113" fmla="*/ 274 h 424"/>
                <a:gd name="T114" fmla="*/ 369 w 421"/>
                <a:gd name="T115" fmla="*/ 341 h 4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21" h="424">
                  <a:moveTo>
                    <a:pt x="378" y="257"/>
                  </a:moveTo>
                  <a:cubicBezTo>
                    <a:pt x="378" y="190"/>
                    <a:pt x="378" y="190"/>
                    <a:pt x="378" y="190"/>
                  </a:cubicBezTo>
                  <a:cubicBezTo>
                    <a:pt x="402" y="186"/>
                    <a:pt x="421" y="165"/>
                    <a:pt x="421" y="140"/>
                  </a:cubicBezTo>
                  <a:cubicBezTo>
                    <a:pt x="421" y="114"/>
                    <a:pt x="402" y="93"/>
                    <a:pt x="377" y="89"/>
                  </a:cubicBezTo>
                  <a:cubicBezTo>
                    <a:pt x="374" y="88"/>
                    <a:pt x="371" y="88"/>
                    <a:pt x="369" y="88"/>
                  </a:cubicBezTo>
                  <a:cubicBezTo>
                    <a:pt x="353" y="88"/>
                    <a:pt x="339" y="96"/>
                    <a:pt x="329" y="107"/>
                  </a:cubicBezTo>
                  <a:cubicBezTo>
                    <a:pt x="259" y="69"/>
                    <a:pt x="259" y="69"/>
                    <a:pt x="259" y="69"/>
                  </a:cubicBezTo>
                  <a:cubicBezTo>
                    <a:pt x="260" y="64"/>
                    <a:pt x="261" y="58"/>
                    <a:pt x="261" y="53"/>
                  </a:cubicBezTo>
                  <a:cubicBezTo>
                    <a:pt x="261" y="53"/>
                    <a:pt x="261" y="53"/>
                    <a:pt x="261" y="52"/>
                  </a:cubicBezTo>
                  <a:cubicBezTo>
                    <a:pt x="261" y="51"/>
                    <a:pt x="261" y="51"/>
                    <a:pt x="261" y="51"/>
                  </a:cubicBezTo>
                  <a:cubicBezTo>
                    <a:pt x="261" y="23"/>
                    <a:pt x="239" y="0"/>
                    <a:pt x="210" y="0"/>
                  </a:cubicBezTo>
                  <a:cubicBezTo>
                    <a:pt x="182" y="0"/>
                    <a:pt x="159" y="23"/>
                    <a:pt x="159" y="51"/>
                  </a:cubicBezTo>
                  <a:cubicBezTo>
                    <a:pt x="159" y="52"/>
                    <a:pt x="159" y="52"/>
                    <a:pt x="159" y="52"/>
                  </a:cubicBezTo>
                  <a:cubicBezTo>
                    <a:pt x="159" y="53"/>
                    <a:pt x="159" y="53"/>
                    <a:pt x="159" y="53"/>
                  </a:cubicBezTo>
                  <a:cubicBezTo>
                    <a:pt x="159" y="58"/>
                    <a:pt x="160" y="64"/>
                    <a:pt x="161" y="69"/>
                  </a:cubicBezTo>
                  <a:cubicBezTo>
                    <a:pt x="90" y="108"/>
                    <a:pt x="90" y="108"/>
                    <a:pt x="90" y="108"/>
                  </a:cubicBezTo>
                  <a:cubicBezTo>
                    <a:pt x="81" y="96"/>
                    <a:pt x="66" y="90"/>
                    <a:pt x="51" y="90"/>
                  </a:cubicBezTo>
                  <a:cubicBezTo>
                    <a:pt x="23" y="90"/>
                    <a:pt x="0" y="113"/>
                    <a:pt x="0" y="141"/>
                  </a:cubicBezTo>
                  <a:cubicBezTo>
                    <a:pt x="0" y="166"/>
                    <a:pt x="18" y="187"/>
                    <a:pt x="42" y="192"/>
                  </a:cubicBezTo>
                  <a:cubicBezTo>
                    <a:pt x="42" y="259"/>
                    <a:pt x="42" y="259"/>
                    <a:pt x="42" y="259"/>
                  </a:cubicBezTo>
                  <a:cubicBezTo>
                    <a:pt x="20" y="263"/>
                    <a:pt x="2" y="282"/>
                    <a:pt x="0" y="304"/>
                  </a:cubicBezTo>
                  <a:cubicBezTo>
                    <a:pt x="0" y="306"/>
                    <a:pt x="0" y="308"/>
                    <a:pt x="0" y="310"/>
                  </a:cubicBezTo>
                  <a:cubicBezTo>
                    <a:pt x="0" y="339"/>
                    <a:pt x="23" y="362"/>
                    <a:pt x="51" y="362"/>
                  </a:cubicBezTo>
                  <a:cubicBezTo>
                    <a:pt x="66" y="362"/>
                    <a:pt x="81" y="355"/>
                    <a:pt x="90" y="344"/>
                  </a:cubicBezTo>
                  <a:cubicBezTo>
                    <a:pt x="123" y="362"/>
                    <a:pt x="123" y="362"/>
                    <a:pt x="123" y="362"/>
                  </a:cubicBezTo>
                  <a:cubicBezTo>
                    <a:pt x="123" y="424"/>
                    <a:pt x="123" y="424"/>
                    <a:pt x="123" y="424"/>
                  </a:cubicBezTo>
                  <a:cubicBezTo>
                    <a:pt x="141" y="424"/>
                    <a:pt x="141" y="424"/>
                    <a:pt x="141" y="424"/>
                  </a:cubicBezTo>
                  <a:cubicBezTo>
                    <a:pt x="141" y="333"/>
                    <a:pt x="141" y="333"/>
                    <a:pt x="141" y="333"/>
                  </a:cubicBezTo>
                  <a:cubicBezTo>
                    <a:pt x="141" y="317"/>
                    <a:pt x="155" y="303"/>
                    <a:pt x="171" y="303"/>
                  </a:cubicBezTo>
                  <a:cubicBezTo>
                    <a:pt x="249" y="303"/>
                    <a:pt x="249" y="303"/>
                    <a:pt x="249" y="303"/>
                  </a:cubicBezTo>
                  <a:cubicBezTo>
                    <a:pt x="266" y="303"/>
                    <a:pt x="279" y="317"/>
                    <a:pt x="279" y="333"/>
                  </a:cubicBezTo>
                  <a:cubicBezTo>
                    <a:pt x="279" y="424"/>
                    <a:pt x="279" y="424"/>
                    <a:pt x="279" y="424"/>
                  </a:cubicBezTo>
                  <a:cubicBezTo>
                    <a:pt x="297" y="424"/>
                    <a:pt x="297" y="424"/>
                    <a:pt x="297" y="424"/>
                  </a:cubicBezTo>
                  <a:cubicBezTo>
                    <a:pt x="297" y="362"/>
                    <a:pt x="297" y="362"/>
                    <a:pt x="297" y="362"/>
                  </a:cubicBezTo>
                  <a:cubicBezTo>
                    <a:pt x="331" y="343"/>
                    <a:pt x="331" y="343"/>
                    <a:pt x="331" y="343"/>
                  </a:cubicBezTo>
                  <a:cubicBezTo>
                    <a:pt x="341" y="354"/>
                    <a:pt x="355" y="360"/>
                    <a:pt x="369" y="360"/>
                  </a:cubicBezTo>
                  <a:cubicBezTo>
                    <a:pt x="397" y="360"/>
                    <a:pt x="421" y="337"/>
                    <a:pt x="421" y="309"/>
                  </a:cubicBezTo>
                  <a:cubicBezTo>
                    <a:pt x="421" y="301"/>
                    <a:pt x="419" y="293"/>
                    <a:pt x="415" y="286"/>
                  </a:cubicBezTo>
                  <a:cubicBezTo>
                    <a:pt x="408" y="271"/>
                    <a:pt x="394" y="260"/>
                    <a:pt x="378" y="257"/>
                  </a:cubicBezTo>
                  <a:close/>
                  <a:moveTo>
                    <a:pt x="369" y="105"/>
                  </a:moveTo>
                  <a:cubicBezTo>
                    <a:pt x="387" y="105"/>
                    <a:pt x="402" y="121"/>
                    <a:pt x="402" y="139"/>
                  </a:cubicBezTo>
                  <a:cubicBezTo>
                    <a:pt x="402" y="158"/>
                    <a:pt x="387" y="173"/>
                    <a:pt x="369" y="173"/>
                  </a:cubicBezTo>
                  <a:cubicBezTo>
                    <a:pt x="350" y="173"/>
                    <a:pt x="335" y="158"/>
                    <a:pt x="335" y="139"/>
                  </a:cubicBezTo>
                  <a:cubicBezTo>
                    <a:pt x="335" y="121"/>
                    <a:pt x="350" y="105"/>
                    <a:pt x="369" y="105"/>
                  </a:cubicBezTo>
                  <a:close/>
                  <a:moveTo>
                    <a:pt x="210" y="19"/>
                  </a:moveTo>
                  <a:cubicBezTo>
                    <a:pt x="228" y="19"/>
                    <a:pt x="243" y="34"/>
                    <a:pt x="243" y="52"/>
                  </a:cubicBezTo>
                  <a:cubicBezTo>
                    <a:pt x="243" y="70"/>
                    <a:pt x="228" y="85"/>
                    <a:pt x="210" y="85"/>
                  </a:cubicBezTo>
                  <a:cubicBezTo>
                    <a:pt x="192" y="85"/>
                    <a:pt x="177" y="70"/>
                    <a:pt x="177" y="52"/>
                  </a:cubicBezTo>
                  <a:cubicBezTo>
                    <a:pt x="177" y="34"/>
                    <a:pt x="192" y="19"/>
                    <a:pt x="210" y="19"/>
                  </a:cubicBezTo>
                  <a:close/>
                  <a:moveTo>
                    <a:pt x="170" y="84"/>
                  </a:moveTo>
                  <a:cubicBezTo>
                    <a:pt x="180" y="96"/>
                    <a:pt x="194" y="103"/>
                    <a:pt x="210" y="103"/>
                  </a:cubicBezTo>
                  <a:cubicBezTo>
                    <a:pt x="226" y="103"/>
                    <a:pt x="240" y="96"/>
                    <a:pt x="250" y="84"/>
                  </a:cubicBezTo>
                  <a:cubicBezTo>
                    <a:pt x="321" y="123"/>
                    <a:pt x="321" y="123"/>
                    <a:pt x="321" y="123"/>
                  </a:cubicBezTo>
                  <a:cubicBezTo>
                    <a:pt x="319" y="128"/>
                    <a:pt x="318" y="133"/>
                    <a:pt x="318" y="139"/>
                  </a:cubicBezTo>
                  <a:cubicBezTo>
                    <a:pt x="318" y="145"/>
                    <a:pt x="319" y="150"/>
                    <a:pt x="321" y="156"/>
                  </a:cubicBezTo>
                  <a:cubicBezTo>
                    <a:pt x="248" y="195"/>
                    <a:pt x="248" y="195"/>
                    <a:pt x="248" y="195"/>
                  </a:cubicBezTo>
                  <a:cubicBezTo>
                    <a:pt x="239" y="184"/>
                    <a:pt x="225" y="177"/>
                    <a:pt x="210" y="177"/>
                  </a:cubicBezTo>
                  <a:cubicBezTo>
                    <a:pt x="195" y="177"/>
                    <a:pt x="182" y="184"/>
                    <a:pt x="173" y="195"/>
                  </a:cubicBezTo>
                  <a:cubicBezTo>
                    <a:pt x="100" y="156"/>
                    <a:pt x="100" y="156"/>
                    <a:pt x="100" y="156"/>
                  </a:cubicBezTo>
                  <a:cubicBezTo>
                    <a:pt x="101" y="151"/>
                    <a:pt x="102" y="146"/>
                    <a:pt x="102" y="141"/>
                  </a:cubicBezTo>
                  <a:cubicBezTo>
                    <a:pt x="102" y="135"/>
                    <a:pt x="101" y="129"/>
                    <a:pt x="99" y="123"/>
                  </a:cubicBezTo>
                  <a:cubicBezTo>
                    <a:pt x="170" y="84"/>
                    <a:pt x="170" y="84"/>
                    <a:pt x="170" y="84"/>
                  </a:cubicBezTo>
                  <a:cubicBezTo>
                    <a:pt x="170" y="84"/>
                    <a:pt x="170" y="84"/>
                    <a:pt x="170" y="84"/>
                  </a:cubicBezTo>
                  <a:close/>
                  <a:moveTo>
                    <a:pt x="241" y="226"/>
                  </a:moveTo>
                  <a:cubicBezTo>
                    <a:pt x="241" y="242"/>
                    <a:pt x="227" y="256"/>
                    <a:pt x="210" y="256"/>
                  </a:cubicBezTo>
                  <a:cubicBezTo>
                    <a:pt x="193" y="256"/>
                    <a:pt x="179" y="242"/>
                    <a:pt x="179" y="226"/>
                  </a:cubicBezTo>
                  <a:cubicBezTo>
                    <a:pt x="179" y="209"/>
                    <a:pt x="193" y="195"/>
                    <a:pt x="210" y="195"/>
                  </a:cubicBezTo>
                  <a:cubicBezTo>
                    <a:pt x="227" y="195"/>
                    <a:pt x="241" y="209"/>
                    <a:pt x="241" y="226"/>
                  </a:cubicBezTo>
                  <a:close/>
                  <a:moveTo>
                    <a:pt x="18" y="141"/>
                  </a:moveTo>
                  <a:cubicBezTo>
                    <a:pt x="18" y="123"/>
                    <a:pt x="33" y="108"/>
                    <a:pt x="51" y="108"/>
                  </a:cubicBezTo>
                  <a:cubicBezTo>
                    <a:pt x="70" y="108"/>
                    <a:pt x="85" y="123"/>
                    <a:pt x="85" y="141"/>
                  </a:cubicBezTo>
                  <a:cubicBezTo>
                    <a:pt x="85" y="160"/>
                    <a:pt x="70" y="175"/>
                    <a:pt x="51" y="175"/>
                  </a:cubicBezTo>
                  <a:cubicBezTo>
                    <a:pt x="33" y="175"/>
                    <a:pt x="18" y="160"/>
                    <a:pt x="18" y="141"/>
                  </a:cubicBezTo>
                  <a:close/>
                  <a:moveTo>
                    <a:pt x="51" y="343"/>
                  </a:moveTo>
                  <a:cubicBezTo>
                    <a:pt x="33" y="343"/>
                    <a:pt x="18" y="328"/>
                    <a:pt x="18" y="310"/>
                  </a:cubicBezTo>
                  <a:cubicBezTo>
                    <a:pt x="18" y="291"/>
                    <a:pt x="33" y="276"/>
                    <a:pt x="51" y="276"/>
                  </a:cubicBezTo>
                  <a:cubicBezTo>
                    <a:pt x="70" y="276"/>
                    <a:pt x="85" y="291"/>
                    <a:pt x="85" y="310"/>
                  </a:cubicBezTo>
                  <a:cubicBezTo>
                    <a:pt x="85" y="328"/>
                    <a:pt x="70" y="343"/>
                    <a:pt x="51" y="343"/>
                  </a:cubicBezTo>
                  <a:close/>
                  <a:moveTo>
                    <a:pt x="60" y="259"/>
                  </a:moveTo>
                  <a:cubicBezTo>
                    <a:pt x="60" y="192"/>
                    <a:pt x="60" y="192"/>
                    <a:pt x="60" y="192"/>
                  </a:cubicBezTo>
                  <a:cubicBezTo>
                    <a:pt x="73" y="189"/>
                    <a:pt x="84" y="182"/>
                    <a:pt x="92" y="172"/>
                  </a:cubicBezTo>
                  <a:cubicBezTo>
                    <a:pt x="164" y="211"/>
                    <a:pt x="164" y="211"/>
                    <a:pt x="164" y="211"/>
                  </a:cubicBezTo>
                  <a:cubicBezTo>
                    <a:pt x="163" y="215"/>
                    <a:pt x="161" y="221"/>
                    <a:pt x="161" y="226"/>
                  </a:cubicBezTo>
                  <a:cubicBezTo>
                    <a:pt x="161" y="231"/>
                    <a:pt x="163" y="236"/>
                    <a:pt x="164" y="240"/>
                  </a:cubicBezTo>
                  <a:cubicBezTo>
                    <a:pt x="92" y="279"/>
                    <a:pt x="92" y="279"/>
                    <a:pt x="92" y="279"/>
                  </a:cubicBezTo>
                  <a:cubicBezTo>
                    <a:pt x="85" y="269"/>
                    <a:pt x="73" y="262"/>
                    <a:pt x="60" y="259"/>
                  </a:cubicBezTo>
                  <a:close/>
                  <a:moveTo>
                    <a:pt x="297" y="341"/>
                  </a:moveTo>
                  <a:cubicBezTo>
                    <a:pt x="297" y="333"/>
                    <a:pt x="297" y="333"/>
                    <a:pt x="297" y="333"/>
                  </a:cubicBezTo>
                  <a:cubicBezTo>
                    <a:pt x="297" y="307"/>
                    <a:pt x="276" y="285"/>
                    <a:pt x="249" y="285"/>
                  </a:cubicBezTo>
                  <a:cubicBezTo>
                    <a:pt x="171" y="285"/>
                    <a:pt x="171" y="285"/>
                    <a:pt x="171" y="285"/>
                  </a:cubicBezTo>
                  <a:cubicBezTo>
                    <a:pt x="145" y="285"/>
                    <a:pt x="123" y="307"/>
                    <a:pt x="123" y="333"/>
                  </a:cubicBezTo>
                  <a:cubicBezTo>
                    <a:pt x="123" y="341"/>
                    <a:pt x="123" y="341"/>
                    <a:pt x="123" y="341"/>
                  </a:cubicBezTo>
                  <a:cubicBezTo>
                    <a:pt x="99" y="328"/>
                    <a:pt x="99" y="328"/>
                    <a:pt x="99" y="328"/>
                  </a:cubicBezTo>
                  <a:cubicBezTo>
                    <a:pt x="101" y="322"/>
                    <a:pt x="102" y="316"/>
                    <a:pt x="102" y="310"/>
                  </a:cubicBezTo>
                  <a:cubicBezTo>
                    <a:pt x="102" y="305"/>
                    <a:pt x="101" y="300"/>
                    <a:pt x="100" y="295"/>
                  </a:cubicBezTo>
                  <a:cubicBezTo>
                    <a:pt x="173" y="256"/>
                    <a:pt x="173" y="256"/>
                    <a:pt x="173" y="256"/>
                  </a:cubicBezTo>
                  <a:cubicBezTo>
                    <a:pt x="182" y="267"/>
                    <a:pt x="195" y="274"/>
                    <a:pt x="210" y="274"/>
                  </a:cubicBezTo>
                  <a:cubicBezTo>
                    <a:pt x="225" y="274"/>
                    <a:pt x="239" y="267"/>
                    <a:pt x="248" y="256"/>
                  </a:cubicBezTo>
                  <a:cubicBezTo>
                    <a:pt x="319" y="295"/>
                    <a:pt x="319" y="295"/>
                    <a:pt x="319" y="295"/>
                  </a:cubicBezTo>
                  <a:cubicBezTo>
                    <a:pt x="319" y="299"/>
                    <a:pt x="318" y="303"/>
                    <a:pt x="318" y="308"/>
                  </a:cubicBezTo>
                  <a:cubicBezTo>
                    <a:pt x="318" y="315"/>
                    <a:pt x="319" y="321"/>
                    <a:pt x="322" y="328"/>
                  </a:cubicBezTo>
                  <a:cubicBezTo>
                    <a:pt x="297" y="341"/>
                    <a:pt x="297" y="341"/>
                    <a:pt x="297" y="341"/>
                  </a:cubicBezTo>
                  <a:cubicBezTo>
                    <a:pt x="297" y="341"/>
                    <a:pt x="297" y="341"/>
                    <a:pt x="297" y="341"/>
                  </a:cubicBezTo>
                  <a:close/>
                  <a:moveTo>
                    <a:pt x="327" y="278"/>
                  </a:moveTo>
                  <a:cubicBezTo>
                    <a:pt x="256" y="240"/>
                    <a:pt x="256" y="240"/>
                    <a:pt x="256" y="240"/>
                  </a:cubicBezTo>
                  <a:cubicBezTo>
                    <a:pt x="258" y="236"/>
                    <a:pt x="259" y="231"/>
                    <a:pt x="259" y="226"/>
                  </a:cubicBezTo>
                  <a:cubicBezTo>
                    <a:pt x="259" y="221"/>
                    <a:pt x="258" y="215"/>
                    <a:pt x="256" y="211"/>
                  </a:cubicBezTo>
                  <a:cubicBezTo>
                    <a:pt x="329" y="172"/>
                    <a:pt x="329" y="172"/>
                    <a:pt x="329" y="172"/>
                  </a:cubicBezTo>
                  <a:cubicBezTo>
                    <a:pt x="337" y="181"/>
                    <a:pt x="348" y="187"/>
                    <a:pt x="360" y="190"/>
                  </a:cubicBezTo>
                  <a:cubicBezTo>
                    <a:pt x="360" y="257"/>
                    <a:pt x="360" y="257"/>
                    <a:pt x="360" y="257"/>
                  </a:cubicBezTo>
                  <a:cubicBezTo>
                    <a:pt x="347" y="260"/>
                    <a:pt x="334" y="267"/>
                    <a:pt x="327" y="278"/>
                  </a:cubicBezTo>
                  <a:close/>
                  <a:moveTo>
                    <a:pt x="369" y="341"/>
                  </a:moveTo>
                  <a:cubicBezTo>
                    <a:pt x="350" y="341"/>
                    <a:pt x="335" y="326"/>
                    <a:pt x="335" y="308"/>
                  </a:cubicBezTo>
                  <a:cubicBezTo>
                    <a:pt x="335" y="289"/>
                    <a:pt x="350" y="274"/>
                    <a:pt x="369" y="274"/>
                  </a:cubicBezTo>
                  <a:cubicBezTo>
                    <a:pt x="387" y="274"/>
                    <a:pt x="402" y="289"/>
                    <a:pt x="402" y="308"/>
                  </a:cubicBezTo>
                  <a:cubicBezTo>
                    <a:pt x="402" y="326"/>
                    <a:pt x="387" y="341"/>
                    <a:pt x="369" y="3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0" cap="flat" cmpd="sng" algn="ctr">
                  <a:solidFill>
                    <a:srgbClr val="FFFFFF">
                      <a:alpha val="0"/>
                    </a:srgbClr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vert="horz" wrap="square" lIns="89595" tIns="44797" rIns="89595" bIns="44797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solidFill>
                  <a:srgbClr val="000000"/>
                </a:solidFill>
                <a:latin typeface="+mn-lt"/>
              </a:endParaRPr>
            </a:p>
          </p:txBody>
        </p:sp>
      </p:grpSp>
      <p:sp>
        <p:nvSpPr>
          <p:cNvPr id="125" name="Rectangle 25"/>
          <p:cNvSpPr txBox="1">
            <a:spLocks/>
          </p:cNvSpPr>
          <p:nvPr>
            <p:custDataLst>
              <p:tags r:id="rId14"/>
            </p:custDataLst>
          </p:nvPr>
        </p:nvSpPr>
        <p:spPr>
          <a:xfrm>
            <a:off x="2673007" y="1784647"/>
            <a:ext cx="1416005" cy="1193061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vert="horz" lIns="74643" tIns="74643" rIns="74643" bIns="74643" rtlCol="0" anchor="t" anchorCtr="0">
            <a:noAutofit/>
          </a:bodyPr>
          <a:lstStyle>
            <a:defPPr>
              <a:defRPr lang="en-US"/>
            </a:defPPr>
            <a:lvl1pPr lvl="0" indent="0" defTabSz="457063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Arial"/>
              <a:buNone/>
            </a:lvl1pPr>
            <a:lvl2pPr marL="0" lvl="1" indent="0" defTabSz="457063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FontTx/>
              <a:buNone/>
              <a:defRPr sz="1400" baseline="0">
                <a:solidFill>
                  <a:schemeClr val="tx2"/>
                </a:solidFill>
              </a:defRPr>
            </a:lvl2pPr>
            <a:lvl3pPr marL="228531" lvl="2" indent="-228531" defTabSz="457063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Font typeface="Lucida Grande"/>
              <a:buChar char="–"/>
              <a:defRPr sz="1400" baseline="0">
                <a:solidFill>
                  <a:schemeClr val="tx2"/>
                </a:solidFill>
              </a:defRPr>
            </a:lvl3pPr>
            <a:lvl4pPr marL="457063" lvl="3" indent="-231705" defTabSz="457063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Font typeface="Arial"/>
              <a:buChar char="•"/>
              <a:defRPr sz="1400">
                <a:solidFill>
                  <a:schemeClr val="tx2"/>
                </a:solidFill>
              </a:defRPr>
            </a:lvl4pPr>
            <a:lvl5pPr marL="685594" lvl="4" indent="-228531" defTabSz="457063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Font typeface="Lucida Grande"/>
              <a:buChar char="–"/>
              <a:defRPr sz="1400">
                <a:solidFill>
                  <a:schemeClr val="tx2"/>
                </a:solidFill>
              </a:defRPr>
            </a:lvl5pPr>
            <a:lvl6pPr marL="917300" lvl="5" indent="-228531" defTabSz="457063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Font typeface="Lucida Grande"/>
              <a:buChar char="»"/>
              <a:defRPr sz="1400" baseline="0">
                <a:solidFill>
                  <a:schemeClr val="tx2"/>
                </a:solidFill>
              </a:defRPr>
            </a:lvl6pPr>
            <a:lvl7pPr marL="1142657" lvl="6" indent="-225357" defTabSz="457063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Font typeface="Arial"/>
              <a:buChar char="•"/>
              <a:defRPr sz="1400">
                <a:solidFill>
                  <a:schemeClr val="tx2"/>
                </a:solidFill>
              </a:defRPr>
            </a:lvl7pPr>
            <a:lvl8pPr marL="3427971" indent="-228531" defTabSz="457063">
              <a:spcBef>
                <a:spcPct val="20000"/>
              </a:spcBef>
              <a:buFont typeface="Arial"/>
              <a:buChar char="•"/>
              <a:defRPr sz="1999"/>
            </a:lvl8pPr>
            <a:lvl9pPr marL="3885034" indent="-228531" defTabSz="457063">
              <a:spcBef>
                <a:spcPct val="20000"/>
              </a:spcBef>
              <a:buFont typeface="Arial"/>
              <a:buChar char="•"/>
              <a:defRPr sz="1999"/>
            </a:lvl9pPr>
          </a:lstStyle>
          <a:p>
            <a:pPr fontAlgn="auto">
              <a:buClr>
                <a:srgbClr val="000000"/>
              </a:buClr>
            </a:pPr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115" name="TextBox 114"/>
          <p:cNvSpPr txBox="1">
            <a:spLocks/>
          </p:cNvSpPr>
          <p:nvPr/>
        </p:nvSpPr>
        <p:spPr>
          <a:xfrm>
            <a:off x="2723781" y="1862224"/>
            <a:ext cx="1314457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lvl="0" indent="0" defTabSz="12178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 baseline="0"/>
            </a:lvl1pPr>
            <a:lvl2pPr marL="192024" lvl="1" indent="-192024" defTabSz="12178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Calibri" panose="020F0502020204030204" pitchFamily="34" charset="0"/>
              <a:buChar char="▪"/>
              <a:defRPr sz="1400" baseline="0"/>
            </a:lvl2pPr>
            <a:lvl3pPr marL="457200" lvl="2" indent="-265176" defTabSz="12178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 baseline="0"/>
            </a:lvl3pPr>
            <a:lvl4pPr marL="612648" lvl="3" indent="-155448" defTabSz="12178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Calibri" panose="020F0502020204030204" pitchFamily="34" charset="0"/>
              <a:buChar char="▫"/>
              <a:defRPr sz="1400" baseline="0"/>
            </a:lvl4pPr>
            <a:lvl5pPr marL="749808" lvl="4" indent="-128016" defTabSz="12178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/>
            </a:lvl5pPr>
            <a:lvl6pPr marL="1019860" indent="-177060" defTabSz="12178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00" baseline="0"/>
            </a:lvl6pPr>
            <a:lvl7pPr marL="1019860" indent="-177060" defTabSz="12178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00" baseline="0"/>
            </a:lvl7pPr>
            <a:lvl8pPr marL="1019860" indent="-177060" defTabSz="12178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00" baseline="0"/>
            </a:lvl8pPr>
            <a:lvl9pPr marL="1019860" indent="-177060" defTabSz="12178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00" baseline="0"/>
            </a:lvl9pPr>
          </a:lstStyle>
          <a:p>
            <a:pPr>
              <a:buClr>
                <a:srgbClr val="FFFFFF"/>
              </a:buClr>
            </a:pPr>
            <a:r>
              <a:rPr lang="en-US" sz="1200" b="1" dirty="0">
                <a:solidFill>
                  <a:schemeClr val="accent4"/>
                </a:solidFill>
                <a:latin typeface="+mn-lt"/>
              </a:rPr>
              <a:t>Industry </a:t>
            </a:r>
          </a:p>
          <a:p>
            <a:pPr>
              <a:buClr>
                <a:srgbClr val="FFFFFF"/>
              </a:buClr>
            </a:pPr>
            <a:r>
              <a:rPr lang="en-US" sz="1200" b="1" dirty="0">
                <a:solidFill>
                  <a:schemeClr val="accent4"/>
                </a:solidFill>
                <a:latin typeface="+mn-lt"/>
              </a:rPr>
              <a:t>E-learnings</a:t>
            </a:r>
          </a:p>
        </p:txBody>
      </p:sp>
      <p:grpSp>
        <p:nvGrpSpPr>
          <p:cNvPr id="119" name="CustomIcon"/>
          <p:cNvGrpSpPr>
            <a:grpSpLocks noChangeAspect="1"/>
          </p:cNvGrpSpPr>
          <p:nvPr>
            <p:custDataLst>
              <p:tags r:id="rId15"/>
            </p:custDataLst>
          </p:nvPr>
        </p:nvGrpSpPr>
        <p:grpSpPr>
          <a:xfrm>
            <a:off x="3218756" y="2479172"/>
            <a:ext cx="324509" cy="349133"/>
            <a:chOff x="0" y="0"/>
            <a:chExt cx="585788" cy="630238"/>
          </a:xfrm>
          <a:solidFill>
            <a:schemeClr val="accent4"/>
          </a:solidFill>
        </p:grpSpPr>
        <p:sp>
          <p:nvSpPr>
            <p:cNvPr id="120" name="Freeform 23"/>
            <p:cNvSpPr>
              <a:spLocks noEditPoints="1"/>
            </p:cNvSpPr>
            <p:nvPr/>
          </p:nvSpPr>
          <p:spPr bwMode="auto">
            <a:xfrm>
              <a:off x="0" y="90488"/>
              <a:ext cx="492125" cy="396875"/>
            </a:xfrm>
            <a:custGeom>
              <a:avLst/>
              <a:gdLst>
                <a:gd name="T0" fmla="*/ 327 w 336"/>
                <a:gd name="T1" fmla="*/ 272 h 272"/>
                <a:gd name="T2" fmla="*/ 9 w 336"/>
                <a:gd name="T3" fmla="*/ 272 h 272"/>
                <a:gd name="T4" fmla="*/ 0 w 336"/>
                <a:gd name="T5" fmla="*/ 263 h 272"/>
                <a:gd name="T6" fmla="*/ 0 w 336"/>
                <a:gd name="T7" fmla="*/ 9 h 272"/>
                <a:gd name="T8" fmla="*/ 9 w 336"/>
                <a:gd name="T9" fmla="*/ 0 h 272"/>
                <a:gd name="T10" fmla="*/ 327 w 336"/>
                <a:gd name="T11" fmla="*/ 0 h 272"/>
                <a:gd name="T12" fmla="*/ 336 w 336"/>
                <a:gd name="T13" fmla="*/ 9 h 272"/>
                <a:gd name="T14" fmla="*/ 336 w 336"/>
                <a:gd name="T15" fmla="*/ 263 h 272"/>
                <a:gd name="T16" fmla="*/ 327 w 336"/>
                <a:gd name="T17" fmla="*/ 272 h 272"/>
                <a:gd name="T18" fmla="*/ 18 w 336"/>
                <a:gd name="T19" fmla="*/ 255 h 272"/>
                <a:gd name="T20" fmla="*/ 318 w 336"/>
                <a:gd name="T21" fmla="*/ 255 h 272"/>
                <a:gd name="T22" fmla="*/ 318 w 336"/>
                <a:gd name="T23" fmla="*/ 18 h 272"/>
                <a:gd name="T24" fmla="*/ 18 w 336"/>
                <a:gd name="T25" fmla="*/ 18 h 272"/>
                <a:gd name="T26" fmla="*/ 18 w 336"/>
                <a:gd name="T27" fmla="*/ 255 h 272"/>
                <a:gd name="T28" fmla="*/ 18 w 336"/>
                <a:gd name="T29" fmla="*/ 255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36" h="272">
                  <a:moveTo>
                    <a:pt x="327" y="272"/>
                  </a:moveTo>
                  <a:cubicBezTo>
                    <a:pt x="9" y="272"/>
                    <a:pt x="9" y="272"/>
                    <a:pt x="9" y="272"/>
                  </a:cubicBezTo>
                  <a:cubicBezTo>
                    <a:pt x="4" y="272"/>
                    <a:pt x="0" y="268"/>
                    <a:pt x="0" y="263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4"/>
                    <a:pt x="4" y="0"/>
                    <a:pt x="9" y="0"/>
                  </a:cubicBezTo>
                  <a:cubicBezTo>
                    <a:pt x="327" y="0"/>
                    <a:pt x="327" y="0"/>
                    <a:pt x="327" y="0"/>
                  </a:cubicBezTo>
                  <a:cubicBezTo>
                    <a:pt x="332" y="0"/>
                    <a:pt x="336" y="4"/>
                    <a:pt x="336" y="9"/>
                  </a:cubicBezTo>
                  <a:cubicBezTo>
                    <a:pt x="336" y="263"/>
                    <a:pt x="336" y="263"/>
                    <a:pt x="336" y="263"/>
                  </a:cubicBezTo>
                  <a:cubicBezTo>
                    <a:pt x="336" y="268"/>
                    <a:pt x="332" y="272"/>
                    <a:pt x="327" y="272"/>
                  </a:cubicBezTo>
                  <a:close/>
                  <a:moveTo>
                    <a:pt x="18" y="255"/>
                  </a:moveTo>
                  <a:cubicBezTo>
                    <a:pt x="318" y="255"/>
                    <a:pt x="318" y="255"/>
                    <a:pt x="318" y="255"/>
                  </a:cubicBezTo>
                  <a:cubicBezTo>
                    <a:pt x="318" y="18"/>
                    <a:pt x="318" y="18"/>
                    <a:pt x="318" y="18"/>
                  </a:cubicBezTo>
                  <a:cubicBezTo>
                    <a:pt x="18" y="18"/>
                    <a:pt x="18" y="18"/>
                    <a:pt x="18" y="18"/>
                  </a:cubicBezTo>
                  <a:cubicBezTo>
                    <a:pt x="18" y="255"/>
                    <a:pt x="18" y="255"/>
                    <a:pt x="18" y="255"/>
                  </a:cubicBezTo>
                  <a:cubicBezTo>
                    <a:pt x="18" y="255"/>
                    <a:pt x="18" y="255"/>
                    <a:pt x="18" y="2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0" cap="flat" cmpd="sng" algn="ctr">
                  <a:solidFill>
                    <a:srgbClr val="FFFFFF">
                      <a:alpha val="0"/>
                    </a:srgbClr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vert="horz" wrap="square" lIns="89595" tIns="44797" rIns="89595" bIns="44797" numCol="1" anchor="b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solidFill>
                  <a:srgbClr val="000000"/>
                </a:solidFill>
                <a:latin typeface="+mn-lt"/>
              </a:endParaRPr>
            </a:p>
          </p:txBody>
        </p:sp>
        <p:sp>
          <p:nvSpPr>
            <p:cNvPr id="121" name="Freeform 24"/>
            <p:cNvSpPr>
              <a:spLocks/>
            </p:cNvSpPr>
            <p:nvPr/>
          </p:nvSpPr>
          <p:spPr bwMode="auto">
            <a:xfrm>
              <a:off x="279400" y="0"/>
              <a:ext cx="306388" cy="582613"/>
            </a:xfrm>
            <a:custGeom>
              <a:avLst/>
              <a:gdLst>
                <a:gd name="T0" fmla="*/ 200 w 209"/>
                <a:gd name="T1" fmla="*/ 399 h 399"/>
                <a:gd name="T2" fmla="*/ 9 w 209"/>
                <a:gd name="T3" fmla="*/ 399 h 399"/>
                <a:gd name="T4" fmla="*/ 0 w 209"/>
                <a:gd name="T5" fmla="*/ 390 h 399"/>
                <a:gd name="T6" fmla="*/ 0 w 209"/>
                <a:gd name="T7" fmla="*/ 327 h 399"/>
                <a:gd name="T8" fmla="*/ 9 w 209"/>
                <a:gd name="T9" fmla="*/ 318 h 399"/>
                <a:gd name="T10" fmla="*/ 18 w 209"/>
                <a:gd name="T11" fmla="*/ 327 h 399"/>
                <a:gd name="T12" fmla="*/ 18 w 209"/>
                <a:gd name="T13" fmla="*/ 381 h 399"/>
                <a:gd name="T14" fmla="*/ 191 w 209"/>
                <a:gd name="T15" fmla="*/ 381 h 399"/>
                <a:gd name="T16" fmla="*/ 191 w 209"/>
                <a:gd name="T17" fmla="*/ 18 h 399"/>
                <a:gd name="T18" fmla="*/ 18 w 209"/>
                <a:gd name="T19" fmla="*/ 18 h 399"/>
                <a:gd name="T20" fmla="*/ 18 w 209"/>
                <a:gd name="T21" fmla="*/ 66 h 399"/>
                <a:gd name="T22" fmla="*/ 9 w 209"/>
                <a:gd name="T23" fmla="*/ 75 h 399"/>
                <a:gd name="T24" fmla="*/ 0 w 209"/>
                <a:gd name="T25" fmla="*/ 66 h 399"/>
                <a:gd name="T26" fmla="*/ 0 w 209"/>
                <a:gd name="T27" fmla="*/ 9 h 399"/>
                <a:gd name="T28" fmla="*/ 9 w 209"/>
                <a:gd name="T29" fmla="*/ 0 h 399"/>
                <a:gd name="T30" fmla="*/ 200 w 209"/>
                <a:gd name="T31" fmla="*/ 0 h 399"/>
                <a:gd name="T32" fmla="*/ 209 w 209"/>
                <a:gd name="T33" fmla="*/ 9 h 399"/>
                <a:gd name="T34" fmla="*/ 209 w 209"/>
                <a:gd name="T35" fmla="*/ 390 h 399"/>
                <a:gd name="T36" fmla="*/ 200 w 209"/>
                <a:gd name="T37" fmla="*/ 399 h 3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09" h="399">
                  <a:moveTo>
                    <a:pt x="200" y="399"/>
                  </a:moveTo>
                  <a:cubicBezTo>
                    <a:pt x="9" y="399"/>
                    <a:pt x="9" y="399"/>
                    <a:pt x="9" y="399"/>
                  </a:cubicBezTo>
                  <a:cubicBezTo>
                    <a:pt x="4" y="399"/>
                    <a:pt x="0" y="395"/>
                    <a:pt x="0" y="390"/>
                  </a:cubicBezTo>
                  <a:cubicBezTo>
                    <a:pt x="0" y="327"/>
                    <a:pt x="0" y="327"/>
                    <a:pt x="0" y="327"/>
                  </a:cubicBezTo>
                  <a:cubicBezTo>
                    <a:pt x="0" y="322"/>
                    <a:pt x="4" y="318"/>
                    <a:pt x="9" y="318"/>
                  </a:cubicBezTo>
                  <a:cubicBezTo>
                    <a:pt x="14" y="318"/>
                    <a:pt x="18" y="322"/>
                    <a:pt x="18" y="327"/>
                  </a:cubicBezTo>
                  <a:cubicBezTo>
                    <a:pt x="18" y="381"/>
                    <a:pt x="18" y="381"/>
                    <a:pt x="18" y="381"/>
                  </a:cubicBezTo>
                  <a:cubicBezTo>
                    <a:pt x="191" y="381"/>
                    <a:pt x="191" y="381"/>
                    <a:pt x="191" y="381"/>
                  </a:cubicBezTo>
                  <a:cubicBezTo>
                    <a:pt x="191" y="18"/>
                    <a:pt x="191" y="18"/>
                    <a:pt x="191" y="18"/>
                  </a:cubicBezTo>
                  <a:cubicBezTo>
                    <a:pt x="18" y="18"/>
                    <a:pt x="18" y="18"/>
                    <a:pt x="18" y="18"/>
                  </a:cubicBezTo>
                  <a:cubicBezTo>
                    <a:pt x="18" y="66"/>
                    <a:pt x="18" y="66"/>
                    <a:pt x="18" y="66"/>
                  </a:cubicBezTo>
                  <a:cubicBezTo>
                    <a:pt x="18" y="71"/>
                    <a:pt x="14" y="75"/>
                    <a:pt x="9" y="75"/>
                  </a:cubicBezTo>
                  <a:cubicBezTo>
                    <a:pt x="4" y="75"/>
                    <a:pt x="0" y="71"/>
                    <a:pt x="0" y="66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4"/>
                    <a:pt x="4" y="0"/>
                    <a:pt x="9" y="0"/>
                  </a:cubicBezTo>
                  <a:cubicBezTo>
                    <a:pt x="200" y="0"/>
                    <a:pt x="200" y="0"/>
                    <a:pt x="200" y="0"/>
                  </a:cubicBezTo>
                  <a:cubicBezTo>
                    <a:pt x="204" y="0"/>
                    <a:pt x="209" y="4"/>
                    <a:pt x="209" y="9"/>
                  </a:cubicBezTo>
                  <a:cubicBezTo>
                    <a:pt x="209" y="390"/>
                    <a:pt x="209" y="390"/>
                    <a:pt x="209" y="390"/>
                  </a:cubicBezTo>
                  <a:cubicBezTo>
                    <a:pt x="209" y="395"/>
                    <a:pt x="204" y="399"/>
                    <a:pt x="200" y="39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0" cap="flat" cmpd="sng" algn="ctr">
                  <a:solidFill>
                    <a:srgbClr val="FFFFFF">
                      <a:alpha val="0"/>
                    </a:srgbClr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vert="horz" wrap="square" lIns="89595" tIns="44797" rIns="89595" bIns="44797" numCol="1" anchor="b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solidFill>
                  <a:srgbClr val="000000"/>
                </a:solidFill>
                <a:latin typeface="+mn-lt"/>
              </a:endParaRPr>
            </a:p>
          </p:txBody>
        </p:sp>
        <p:sp>
          <p:nvSpPr>
            <p:cNvPr id="122" name="Freeform 25"/>
            <p:cNvSpPr>
              <a:spLocks/>
            </p:cNvSpPr>
            <p:nvPr/>
          </p:nvSpPr>
          <p:spPr bwMode="auto">
            <a:xfrm>
              <a:off x="139700" y="474663"/>
              <a:ext cx="215900" cy="155575"/>
            </a:xfrm>
            <a:custGeom>
              <a:avLst/>
              <a:gdLst>
                <a:gd name="T0" fmla="*/ 139 w 148"/>
                <a:gd name="T1" fmla="*/ 107 h 107"/>
                <a:gd name="T2" fmla="*/ 9 w 148"/>
                <a:gd name="T3" fmla="*/ 107 h 107"/>
                <a:gd name="T4" fmla="*/ 0 w 148"/>
                <a:gd name="T5" fmla="*/ 98 h 107"/>
                <a:gd name="T6" fmla="*/ 9 w 148"/>
                <a:gd name="T7" fmla="*/ 89 h 107"/>
                <a:gd name="T8" fmla="*/ 64 w 148"/>
                <a:gd name="T9" fmla="*/ 89 h 107"/>
                <a:gd name="T10" fmla="*/ 64 w 148"/>
                <a:gd name="T11" fmla="*/ 9 h 107"/>
                <a:gd name="T12" fmla="*/ 73 w 148"/>
                <a:gd name="T13" fmla="*/ 0 h 107"/>
                <a:gd name="T14" fmla="*/ 82 w 148"/>
                <a:gd name="T15" fmla="*/ 9 h 107"/>
                <a:gd name="T16" fmla="*/ 82 w 148"/>
                <a:gd name="T17" fmla="*/ 89 h 107"/>
                <a:gd name="T18" fmla="*/ 139 w 148"/>
                <a:gd name="T19" fmla="*/ 89 h 107"/>
                <a:gd name="T20" fmla="*/ 148 w 148"/>
                <a:gd name="T21" fmla="*/ 98 h 107"/>
                <a:gd name="T22" fmla="*/ 139 w 148"/>
                <a:gd name="T23" fmla="*/ 107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48" h="107">
                  <a:moveTo>
                    <a:pt x="139" y="107"/>
                  </a:moveTo>
                  <a:cubicBezTo>
                    <a:pt x="9" y="107"/>
                    <a:pt x="9" y="107"/>
                    <a:pt x="9" y="107"/>
                  </a:cubicBezTo>
                  <a:cubicBezTo>
                    <a:pt x="4" y="107"/>
                    <a:pt x="0" y="103"/>
                    <a:pt x="0" y="98"/>
                  </a:cubicBezTo>
                  <a:cubicBezTo>
                    <a:pt x="0" y="93"/>
                    <a:pt x="4" y="89"/>
                    <a:pt x="9" y="89"/>
                  </a:cubicBezTo>
                  <a:cubicBezTo>
                    <a:pt x="64" y="89"/>
                    <a:pt x="64" y="89"/>
                    <a:pt x="64" y="89"/>
                  </a:cubicBezTo>
                  <a:cubicBezTo>
                    <a:pt x="64" y="9"/>
                    <a:pt x="64" y="9"/>
                    <a:pt x="64" y="9"/>
                  </a:cubicBezTo>
                  <a:cubicBezTo>
                    <a:pt x="64" y="5"/>
                    <a:pt x="68" y="0"/>
                    <a:pt x="73" y="0"/>
                  </a:cubicBezTo>
                  <a:cubicBezTo>
                    <a:pt x="78" y="0"/>
                    <a:pt x="82" y="5"/>
                    <a:pt x="82" y="9"/>
                  </a:cubicBezTo>
                  <a:cubicBezTo>
                    <a:pt x="82" y="89"/>
                    <a:pt x="82" y="89"/>
                    <a:pt x="82" y="89"/>
                  </a:cubicBezTo>
                  <a:cubicBezTo>
                    <a:pt x="139" y="89"/>
                    <a:pt x="139" y="89"/>
                    <a:pt x="139" y="89"/>
                  </a:cubicBezTo>
                  <a:cubicBezTo>
                    <a:pt x="143" y="89"/>
                    <a:pt x="148" y="93"/>
                    <a:pt x="148" y="98"/>
                  </a:cubicBezTo>
                  <a:cubicBezTo>
                    <a:pt x="148" y="103"/>
                    <a:pt x="143" y="107"/>
                    <a:pt x="139" y="10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0" cap="flat" cmpd="sng" algn="ctr">
                  <a:solidFill>
                    <a:srgbClr val="FFFFFF">
                      <a:alpha val="0"/>
                    </a:srgbClr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vert="horz" wrap="square" lIns="89595" tIns="44797" rIns="89595" bIns="44797" numCol="1" anchor="b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solidFill>
                  <a:srgbClr val="000000"/>
                </a:solidFill>
                <a:latin typeface="+mn-lt"/>
              </a:endParaRPr>
            </a:p>
          </p:txBody>
        </p:sp>
      </p:grpSp>
      <p:sp>
        <p:nvSpPr>
          <p:cNvPr id="101" name="Rectangle 25"/>
          <p:cNvSpPr txBox="1">
            <a:spLocks/>
          </p:cNvSpPr>
          <p:nvPr>
            <p:custDataLst>
              <p:tags r:id="rId16"/>
            </p:custDataLst>
          </p:nvPr>
        </p:nvSpPr>
        <p:spPr>
          <a:xfrm>
            <a:off x="7226211" y="1784647"/>
            <a:ext cx="1416005" cy="1193061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vert="horz" lIns="74643" tIns="74643" rIns="74643" bIns="74643" rtlCol="0" anchor="t" anchorCtr="0">
            <a:noAutofit/>
          </a:bodyPr>
          <a:lstStyle>
            <a:defPPr>
              <a:defRPr lang="en-US"/>
            </a:defPPr>
            <a:lvl1pPr lvl="0" indent="0" defTabSz="457063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Arial"/>
              <a:buNone/>
            </a:lvl1pPr>
            <a:lvl2pPr marL="0" lvl="1" indent="0" defTabSz="457063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FontTx/>
              <a:buNone/>
              <a:defRPr sz="1400" baseline="0">
                <a:solidFill>
                  <a:schemeClr val="tx2"/>
                </a:solidFill>
              </a:defRPr>
            </a:lvl2pPr>
            <a:lvl3pPr marL="228531" lvl="2" indent="-228531" defTabSz="457063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Font typeface="Lucida Grande"/>
              <a:buChar char="–"/>
              <a:defRPr sz="1400" baseline="0">
                <a:solidFill>
                  <a:schemeClr val="tx2"/>
                </a:solidFill>
              </a:defRPr>
            </a:lvl3pPr>
            <a:lvl4pPr marL="457063" lvl="3" indent="-231705" defTabSz="457063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Font typeface="Arial"/>
              <a:buChar char="•"/>
              <a:defRPr sz="1400">
                <a:solidFill>
                  <a:schemeClr val="tx2"/>
                </a:solidFill>
              </a:defRPr>
            </a:lvl4pPr>
            <a:lvl5pPr marL="685594" lvl="4" indent="-228531" defTabSz="457063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Font typeface="Lucida Grande"/>
              <a:buChar char="–"/>
              <a:defRPr sz="1400">
                <a:solidFill>
                  <a:schemeClr val="tx2"/>
                </a:solidFill>
              </a:defRPr>
            </a:lvl5pPr>
            <a:lvl6pPr marL="917300" lvl="5" indent="-228531" defTabSz="457063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Font typeface="Lucida Grande"/>
              <a:buChar char="»"/>
              <a:defRPr sz="1400" baseline="0">
                <a:solidFill>
                  <a:schemeClr val="tx2"/>
                </a:solidFill>
              </a:defRPr>
            </a:lvl6pPr>
            <a:lvl7pPr marL="1142657" lvl="6" indent="-225357" defTabSz="457063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Font typeface="Arial"/>
              <a:buChar char="•"/>
              <a:defRPr sz="1400">
                <a:solidFill>
                  <a:schemeClr val="tx2"/>
                </a:solidFill>
              </a:defRPr>
            </a:lvl7pPr>
            <a:lvl8pPr marL="3427971" indent="-228531" defTabSz="457063">
              <a:spcBef>
                <a:spcPct val="20000"/>
              </a:spcBef>
              <a:buFont typeface="Arial"/>
              <a:buChar char="•"/>
              <a:defRPr sz="1999"/>
            </a:lvl8pPr>
            <a:lvl9pPr marL="3885034" indent="-228531" defTabSz="457063">
              <a:spcBef>
                <a:spcPct val="20000"/>
              </a:spcBef>
              <a:buFont typeface="Arial"/>
              <a:buChar char="•"/>
              <a:defRPr sz="1999"/>
            </a:lvl9pPr>
          </a:lstStyle>
          <a:p>
            <a:pPr fontAlgn="auto">
              <a:buClr>
                <a:srgbClr val="000000"/>
              </a:buClr>
            </a:pPr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118" name="TextBox 117"/>
          <p:cNvSpPr txBox="1">
            <a:spLocks/>
          </p:cNvSpPr>
          <p:nvPr/>
        </p:nvSpPr>
        <p:spPr>
          <a:xfrm>
            <a:off x="7276985" y="1862224"/>
            <a:ext cx="1314457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lvl="0" indent="0" defTabSz="12178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 baseline="0"/>
            </a:lvl1pPr>
            <a:lvl2pPr marL="192024" lvl="1" indent="-192024" defTabSz="12178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Calibri" panose="020F0502020204030204" pitchFamily="34" charset="0"/>
              <a:buChar char="▪"/>
              <a:defRPr sz="1400" baseline="0"/>
            </a:lvl2pPr>
            <a:lvl3pPr marL="457200" lvl="2" indent="-265176" defTabSz="12178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 baseline="0"/>
            </a:lvl3pPr>
            <a:lvl4pPr marL="612648" lvl="3" indent="-155448" defTabSz="12178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Calibri" panose="020F0502020204030204" pitchFamily="34" charset="0"/>
              <a:buChar char="▫"/>
              <a:defRPr sz="1400" baseline="0"/>
            </a:lvl4pPr>
            <a:lvl5pPr marL="749808" lvl="4" indent="-128016" defTabSz="12178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/>
            </a:lvl5pPr>
            <a:lvl6pPr marL="1019860" indent="-177060" defTabSz="12178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00" baseline="0"/>
            </a:lvl6pPr>
            <a:lvl7pPr marL="1019860" indent="-177060" defTabSz="12178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00" baseline="0"/>
            </a:lvl7pPr>
            <a:lvl8pPr marL="1019860" indent="-177060" defTabSz="12178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00" baseline="0"/>
            </a:lvl8pPr>
            <a:lvl9pPr marL="1019860" indent="-177060" defTabSz="12178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00" baseline="0"/>
            </a:lvl9pPr>
          </a:lstStyle>
          <a:p>
            <a:pPr>
              <a:buClr>
                <a:srgbClr val="FFFFFF"/>
              </a:buClr>
            </a:pPr>
            <a:r>
              <a:rPr lang="en-US" sz="1200" b="1" dirty="0">
                <a:solidFill>
                  <a:srgbClr val="FFFFFF"/>
                </a:solidFill>
                <a:latin typeface="+mn-lt"/>
              </a:rPr>
              <a:t>Acquire </a:t>
            </a:r>
            <a:br>
              <a:rPr lang="en-US" sz="1200" b="1" dirty="0">
                <a:solidFill>
                  <a:srgbClr val="FFFFFF"/>
                </a:solidFill>
                <a:latin typeface="+mn-lt"/>
              </a:rPr>
            </a:br>
            <a:r>
              <a:rPr lang="en-US" sz="1200" b="1" dirty="0">
                <a:solidFill>
                  <a:srgbClr val="FFFFFF"/>
                </a:solidFill>
                <a:latin typeface="+mn-lt"/>
              </a:rPr>
              <a:t>Workshop</a:t>
            </a:r>
          </a:p>
        </p:txBody>
      </p:sp>
      <p:sp>
        <p:nvSpPr>
          <p:cNvPr id="154" name="Freeform 1519"/>
          <p:cNvSpPr>
            <a:spLocks noEditPoints="1"/>
          </p:cNvSpPr>
          <p:nvPr/>
        </p:nvSpPr>
        <p:spPr bwMode="auto">
          <a:xfrm>
            <a:off x="7762400" y="2463861"/>
            <a:ext cx="343627" cy="379756"/>
          </a:xfrm>
          <a:custGeom>
            <a:avLst/>
            <a:gdLst>
              <a:gd name="T0" fmla="*/ 197 w 648"/>
              <a:gd name="T1" fmla="*/ 179 h 668"/>
              <a:gd name="T2" fmla="*/ 172 w 648"/>
              <a:gd name="T3" fmla="*/ 141 h 668"/>
              <a:gd name="T4" fmla="*/ 145 w 648"/>
              <a:gd name="T5" fmla="*/ 130 h 668"/>
              <a:gd name="T6" fmla="*/ 114 w 648"/>
              <a:gd name="T7" fmla="*/ 142 h 668"/>
              <a:gd name="T8" fmla="*/ 94 w 648"/>
              <a:gd name="T9" fmla="*/ 182 h 668"/>
              <a:gd name="T10" fmla="*/ 51 w 648"/>
              <a:gd name="T11" fmla="*/ 377 h 668"/>
              <a:gd name="T12" fmla="*/ 0 w 648"/>
              <a:gd name="T13" fmla="*/ 636 h 668"/>
              <a:gd name="T14" fmla="*/ 23 w 648"/>
              <a:gd name="T15" fmla="*/ 666 h 668"/>
              <a:gd name="T16" fmla="*/ 48 w 648"/>
              <a:gd name="T17" fmla="*/ 665 h 668"/>
              <a:gd name="T18" fmla="*/ 112 w 648"/>
              <a:gd name="T19" fmla="*/ 519 h 668"/>
              <a:gd name="T20" fmla="*/ 115 w 648"/>
              <a:gd name="T21" fmla="*/ 465 h 668"/>
              <a:gd name="T22" fmla="*/ 209 w 648"/>
              <a:gd name="T23" fmla="*/ 660 h 668"/>
              <a:gd name="T24" fmla="*/ 235 w 648"/>
              <a:gd name="T25" fmla="*/ 660 h 668"/>
              <a:gd name="T26" fmla="*/ 255 w 648"/>
              <a:gd name="T27" fmla="*/ 630 h 668"/>
              <a:gd name="T28" fmla="*/ 153 w 648"/>
              <a:gd name="T29" fmla="*/ 377 h 668"/>
              <a:gd name="T30" fmla="*/ 189 w 648"/>
              <a:gd name="T31" fmla="*/ 287 h 668"/>
              <a:gd name="T32" fmla="*/ 306 w 648"/>
              <a:gd name="T33" fmla="*/ 321 h 668"/>
              <a:gd name="T34" fmla="*/ 301 w 648"/>
              <a:gd name="T35" fmla="*/ 296 h 668"/>
              <a:gd name="T36" fmla="*/ 325 w 648"/>
              <a:gd name="T37" fmla="*/ 262 h 668"/>
              <a:gd name="T38" fmla="*/ 215 w 648"/>
              <a:gd name="T39" fmla="*/ 111 h 668"/>
              <a:gd name="T40" fmla="*/ 238 w 648"/>
              <a:gd name="T41" fmla="*/ 64 h 668"/>
              <a:gd name="T42" fmla="*/ 215 w 648"/>
              <a:gd name="T43" fmla="*/ 17 h 668"/>
              <a:gd name="T44" fmla="*/ 162 w 648"/>
              <a:gd name="T45" fmla="*/ 9 h 668"/>
              <a:gd name="T46" fmla="*/ 124 w 648"/>
              <a:gd name="T47" fmla="*/ 45 h 668"/>
              <a:gd name="T48" fmla="*/ 133 w 648"/>
              <a:gd name="T49" fmla="*/ 98 h 668"/>
              <a:gd name="T50" fmla="*/ 181 w 648"/>
              <a:gd name="T51" fmla="*/ 123 h 668"/>
              <a:gd name="T52" fmla="*/ 556 w 648"/>
              <a:gd name="T53" fmla="*/ 105 h 668"/>
              <a:gd name="T54" fmla="*/ 580 w 648"/>
              <a:gd name="T55" fmla="*/ 58 h 668"/>
              <a:gd name="T56" fmla="*/ 556 w 648"/>
              <a:gd name="T57" fmla="*/ 11 h 668"/>
              <a:gd name="T58" fmla="*/ 503 w 648"/>
              <a:gd name="T59" fmla="*/ 2 h 668"/>
              <a:gd name="T60" fmla="*/ 466 w 648"/>
              <a:gd name="T61" fmla="*/ 39 h 668"/>
              <a:gd name="T62" fmla="*/ 474 w 648"/>
              <a:gd name="T63" fmla="*/ 92 h 668"/>
              <a:gd name="T64" fmla="*/ 521 w 648"/>
              <a:gd name="T65" fmla="*/ 116 h 668"/>
              <a:gd name="T66" fmla="*/ 589 w 648"/>
              <a:gd name="T67" fmla="*/ 295 h 668"/>
              <a:gd name="T68" fmla="*/ 575 w 648"/>
              <a:gd name="T69" fmla="*/ 152 h 668"/>
              <a:gd name="T70" fmla="*/ 545 w 648"/>
              <a:gd name="T71" fmla="*/ 132 h 668"/>
              <a:gd name="T72" fmla="*/ 518 w 648"/>
              <a:gd name="T73" fmla="*/ 135 h 668"/>
              <a:gd name="T74" fmla="*/ 490 w 648"/>
              <a:gd name="T75" fmla="*/ 165 h 668"/>
              <a:gd name="T76" fmla="*/ 351 w 648"/>
              <a:gd name="T77" fmla="*/ 268 h 668"/>
              <a:gd name="T78" fmla="*/ 319 w 648"/>
              <a:gd name="T79" fmla="*/ 285 h 668"/>
              <a:gd name="T80" fmla="*/ 318 w 648"/>
              <a:gd name="T81" fmla="*/ 314 h 668"/>
              <a:gd name="T82" fmla="*/ 335 w 648"/>
              <a:gd name="T83" fmla="*/ 330 h 668"/>
              <a:gd name="T84" fmla="*/ 472 w 648"/>
              <a:gd name="T85" fmla="*/ 301 h 668"/>
              <a:gd name="T86" fmla="*/ 486 w 648"/>
              <a:gd name="T87" fmla="*/ 333 h 668"/>
              <a:gd name="T88" fmla="*/ 439 w 648"/>
              <a:gd name="T89" fmla="*/ 497 h 668"/>
              <a:gd name="T90" fmla="*/ 425 w 648"/>
              <a:gd name="T91" fmla="*/ 639 h 668"/>
              <a:gd name="T92" fmla="*/ 454 w 648"/>
              <a:gd name="T93" fmla="*/ 663 h 668"/>
              <a:gd name="T94" fmla="*/ 481 w 648"/>
              <a:gd name="T95" fmla="*/ 655 h 668"/>
              <a:gd name="T96" fmla="*/ 504 w 648"/>
              <a:gd name="T97" fmla="*/ 516 h 668"/>
              <a:gd name="T98" fmla="*/ 535 w 648"/>
              <a:gd name="T99" fmla="*/ 530 h 668"/>
              <a:gd name="T100" fmla="*/ 590 w 648"/>
              <a:gd name="T101" fmla="*/ 655 h 668"/>
              <a:gd name="T102" fmla="*/ 619 w 648"/>
              <a:gd name="T103" fmla="*/ 664 h 668"/>
              <a:gd name="T104" fmla="*/ 644 w 648"/>
              <a:gd name="T105" fmla="*/ 643 h 6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648" h="668">
                <a:moveTo>
                  <a:pt x="325" y="262"/>
                </a:moveTo>
                <a:lnTo>
                  <a:pt x="234" y="244"/>
                </a:lnTo>
                <a:lnTo>
                  <a:pt x="197" y="179"/>
                </a:lnTo>
                <a:lnTo>
                  <a:pt x="189" y="165"/>
                </a:lnTo>
                <a:lnTo>
                  <a:pt x="181" y="152"/>
                </a:lnTo>
                <a:lnTo>
                  <a:pt x="172" y="141"/>
                </a:lnTo>
                <a:lnTo>
                  <a:pt x="160" y="134"/>
                </a:lnTo>
                <a:lnTo>
                  <a:pt x="148" y="130"/>
                </a:lnTo>
                <a:lnTo>
                  <a:pt x="145" y="130"/>
                </a:lnTo>
                <a:lnTo>
                  <a:pt x="133" y="132"/>
                </a:lnTo>
                <a:lnTo>
                  <a:pt x="123" y="136"/>
                </a:lnTo>
                <a:lnTo>
                  <a:pt x="114" y="142"/>
                </a:lnTo>
                <a:lnTo>
                  <a:pt x="105" y="152"/>
                </a:lnTo>
                <a:lnTo>
                  <a:pt x="98" y="165"/>
                </a:lnTo>
                <a:lnTo>
                  <a:pt x="94" y="182"/>
                </a:lnTo>
                <a:lnTo>
                  <a:pt x="52" y="371"/>
                </a:lnTo>
                <a:lnTo>
                  <a:pt x="52" y="371"/>
                </a:lnTo>
                <a:lnTo>
                  <a:pt x="51" y="377"/>
                </a:lnTo>
                <a:lnTo>
                  <a:pt x="47" y="501"/>
                </a:lnTo>
                <a:lnTo>
                  <a:pt x="3" y="622"/>
                </a:lnTo>
                <a:lnTo>
                  <a:pt x="0" y="636"/>
                </a:lnTo>
                <a:lnTo>
                  <a:pt x="4" y="648"/>
                </a:lnTo>
                <a:lnTo>
                  <a:pt x="12" y="659"/>
                </a:lnTo>
                <a:lnTo>
                  <a:pt x="23" y="666"/>
                </a:lnTo>
                <a:lnTo>
                  <a:pt x="29" y="667"/>
                </a:lnTo>
                <a:lnTo>
                  <a:pt x="34" y="668"/>
                </a:lnTo>
                <a:lnTo>
                  <a:pt x="48" y="665"/>
                </a:lnTo>
                <a:lnTo>
                  <a:pt x="59" y="657"/>
                </a:lnTo>
                <a:lnTo>
                  <a:pt x="66" y="646"/>
                </a:lnTo>
                <a:lnTo>
                  <a:pt x="112" y="519"/>
                </a:lnTo>
                <a:lnTo>
                  <a:pt x="113" y="515"/>
                </a:lnTo>
                <a:lnTo>
                  <a:pt x="114" y="509"/>
                </a:lnTo>
                <a:lnTo>
                  <a:pt x="115" y="465"/>
                </a:lnTo>
                <a:lnTo>
                  <a:pt x="190" y="642"/>
                </a:lnTo>
                <a:lnTo>
                  <a:pt x="198" y="654"/>
                </a:lnTo>
                <a:lnTo>
                  <a:pt x="209" y="660"/>
                </a:lnTo>
                <a:lnTo>
                  <a:pt x="221" y="664"/>
                </a:lnTo>
                <a:lnTo>
                  <a:pt x="228" y="663"/>
                </a:lnTo>
                <a:lnTo>
                  <a:pt x="235" y="660"/>
                </a:lnTo>
                <a:lnTo>
                  <a:pt x="245" y="654"/>
                </a:lnTo>
                <a:lnTo>
                  <a:pt x="253" y="642"/>
                </a:lnTo>
                <a:lnTo>
                  <a:pt x="255" y="630"/>
                </a:lnTo>
                <a:lnTo>
                  <a:pt x="253" y="616"/>
                </a:lnTo>
                <a:lnTo>
                  <a:pt x="151" y="377"/>
                </a:lnTo>
                <a:lnTo>
                  <a:pt x="153" y="377"/>
                </a:lnTo>
                <a:lnTo>
                  <a:pt x="165" y="333"/>
                </a:lnTo>
                <a:lnTo>
                  <a:pt x="181" y="275"/>
                </a:lnTo>
                <a:lnTo>
                  <a:pt x="189" y="287"/>
                </a:lnTo>
                <a:lnTo>
                  <a:pt x="197" y="296"/>
                </a:lnTo>
                <a:lnTo>
                  <a:pt x="209" y="302"/>
                </a:lnTo>
                <a:lnTo>
                  <a:pt x="306" y="321"/>
                </a:lnTo>
                <a:lnTo>
                  <a:pt x="304" y="316"/>
                </a:lnTo>
                <a:lnTo>
                  <a:pt x="303" y="311"/>
                </a:lnTo>
                <a:lnTo>
                  <a:pt x="301" y="296"/>
                </a:lnTo>
                <a:lnTo>
                  <a:pt x="305" y="283"/>
                </a:lnTo>
                <a:lnTo>
                  <a:pt x="313" y="271"/>
                </a:lnTo>
                <a:lnTo>
                  <a:pt x="325" y="262"/>
                </a:lnTo>
                <a:close/>
                <a:moveTo>
                  <a:pt x="181" y="123"/>
                </a:moveTo>
                <a:lnTo>
                  <a:pt x="199" y="119"/>
                </a:lnTo>
                <a:lnTo>
                  <a:pt x="215" y="111"/>
                </a:lnTo>
                <a:lnTo>
                  <a:pt x="227" y="98"/>
                </a:lnTo>
                <a:lnTo>
                  <a:pt x="236" y="82"/>
                </a:lnTo>
                <a:lnTo>
                  <a:pt x="238" y="64"/>
                </a:lnTo>
                <a:lnTo>
                  <a:pt x="236" y="45"/>
                </a:lnTo>
                <a:lnTo>
                  <a:pt x="227" y="29"/>
                </a:lnTo>
                <a:lnTo>
                  <a:pt x="215" y="17"/>
                </a:lnTo>
                <a:lnTo>
                  <a:pt x="199" y="9"/>
                </a:lnTo>
                <a:lnTo>
                  <a:pt x="181" y="5"/>
                </a:lnTo>
                <a:lnTo>
                  <a:pt x="162" y="9"/>
                </a:lnTo>
                <a:lnTo>
                  <a:pt x="146" y="17"/>
                </a:lnTo>
                <a:lnTo>
                  <a:pt x="133" y="29"/>
                </a:lnTo>
                <a:lnTo>
                  <a:pt x="124" y="45"/>
                </a:lnTo>
                <a:lnTo>
                  <a:pt x="122" y="64"/>
                </a:lnTo>
                <a:lnTo>
                  <a:pt x="124" y="82"/>
                </a:lnTo>
                <a:lnTo>
                  <a:pt x="133" y="98"/>
                </a:lnTo>
                <a:lnTo>
                  <a:pt x="146" y="111"/>
                </a:lnTo>
                <a:lnTo>
                  <a:pt x="162" y="119"/>
                </a:lnTo>
                <a:lnTo>
                  <a:pt x="181" y="123"/>
                </a:lnTo>
                <a:close/>
                <a:moveTo>
                  <a:pt x="521" y="116"/>
                </a:moveTo>
                <a:lnTo>
                  <a:pt x="539" y="114"/>
                </a:lnTo>
                <a:lnTo>
                  <a:pt x="556" y="105"/>
                </a:lnTo>
                <a:lnTo>
                  <a:pt x="569" y="92"/>
                </a:lnTo>
                <a:lnTo>
                  <a:pt x="577" y="76"/>
                </a:lnTo>
                <a:lnTo>
                  <a:pt x="580" y="58"/>
                </a:lnTo>
                <a:lnTo>
                  <a:pt x="577" y="39"/>
                </a:lnTo>
                <a:lnTo>
                  <a:pt x="569" y="23"/>
                </a:lnTo>
                <a:lnTo>
                  <a:pt x="556" y="11"/>
                </a:lnTo>
                <a:lnTo>
                  <a:pt x="539" y="2"/>
                </a:lnTo>
                <a:lnTo>
                  <a:pt x="521" y="0"/>
                </a:lnTo>
                <a:lnTo>
                  <a:pt x="503" y="2"/>
                </a:lnTo>
                <a:lnTo>
                  <a:pt x="486" y="11"/>
                </a:lnTo>
                <a:lnTo>
                  <a:pt x="474" y="23"/>
                </a:lnTo>
                <a:lnTo>
                  <a:pt x="466" y="39"/>
                </a:lnTo>
                <a:lnTo>
                  <a:pt x="463" y="58"/>
                </a:lnTo>
                <a:lnTo>
                  <a:pt x="466" y="76"/>
                </a:lnTo>
                <a:lnTo>
                  <a:pt x="474" y="92"/>
                </a:lnTo>
                <a:lnTo>
                  <a:pt x="486" y="105"/>
                </a:lnTo>
                <a:lnTo>
                  <a:pt x="503" y="114"/>
                </a:lnTo>
                <a:lnTo>
                  <a:pt x="521" y="116"/>
                </a:lnTo>
                <a:close/>
                <a:moveTo>
                  <a:pt x="644" y="617"/>
                </a:moveTo>
                <a:lnTo>
                  <a:pt x="600" y="514"/>
                </a:lnTo>
                <a:lnTo>
                  <a:pt x="589" y="295"/>
                </a:lnTo>
                <a:lnTo>
                  <a:pt x="584" y="182"/>
                </a:lnTo>
                <a:lnTo>
                  <a:pt x="582" y="165"/>
                </a:lnTo>
                <a:lnTo>
                  <a:pt x="575" y="152"/>
                </a:lnTo>
                <a:lnTo>
                  <a:pt x="567" y="142"/>
                </a:lnTo>
                <a:lnTo>
                  <a:pt x="556" y="135"/>
                </a:lnTo>
                <a:lnTo>
                  <a:pt x="545" y="132"/>
                </a:lnTo>
                <a:lnTo>
                  <a:pt x="534" y="130"/>
                </a:lnTo>
                <a:lnTo>
                  <a:pt x="530" y="130"/>
                </a:lnTo>
                <a:lnTo>
                  <a:pt x="518" y="135"/>
                </a:lnTo>
                <a:lnTo>
                  <a:pt x="507" y="143"/>
                </a:lnTo>
                <a:lnTo>
                  <a:pt x="498" y="153"/>
                </a:lnTo>
                <a:lnTo>
                  <a:pt x="490" y="165"/>
                </a:lnTo>
                <a:lnTo>
                  <a:pt x="483" y="179"/>
                </a:lnTo>
                <a:lnTo>
                  <a:pt x="445" y="245"/>
                </a:lnTo>
                <a:lnTo>
                  <a:pt x="351" y="268"/>
                </a:lnTo>
                <a:lnTo>
                  <a:pt x="337" y="271"/>
                </a:lnTo>
                <a:lnTo>
                  <a:pt x="327" y="277"/>
                </a:lnTo>
                <a:lnTo>
                  <a:pt x="319" y="285"/>
                </a:lnTo>
                <a:lnTo>
                  <a:pt x="315" y="296"/>
                </a:lnTo>
                <a:lnTo>
                  <a:pt x="316" y="309"/>
                </a:lnTo>
                <a:lnTo>
                  <a:pt x="318" y="314"/>
                </a:lnTo>
                <a:lnTo>
                  <a:pt x="322" y="320"/>
                </a:lnTo>
                <a:lnTo>
                  <a:pt x="326" y="324"/>
                </a:lnTo>
                <a:lnTo>
                  <a:pt x="335" y="330"/>
                </a:lnTo>
                <a:lnTo>
                  <a:pt x="345" y="331"/>
                </a:lnTo>
                <a:lnTo>
                  <a:pt x="352" y="330"/>
                </a:lnTo>
                <a:lnTo>
                  <a:pt x="472" y="301"/>
                </a:lnTo>
                <a:lnTo>
                  <a:pt x="477" y="298"/>
                </a:lnTo>
                <a:lnTo>
                  <a:pt x="483" y="295"/>
                </a:lnTo>
                <a:lnTo>
                  <a:pt x="486" y="333"/>
                </a:lnTo>
                <a:lnTo>
                  <a:pt x="491" y="390"/>
                </a:lnTo>
                <a:lnTo>
                  <a:pt x="441" y="492"/>
                </a:lnTo>
                <a:lnTo>
                  <a:pt x="439" y="497"/>
                </a:lnTo>
                <a:lnTo>
                  <a:pt x="438" y="502"/>
                </a:lnTo>
                <a:lnTo>
                  <a:pt x="424" y="625"/>
                </a:lnTo>
                <a:lnTo>
                  <a:pt x="425" y="639"/>
                </a:lnTo>
                <a:lnTo>
                  <a:pt x="431" y="650"/>
                </a:lnTo>
                <a:lnTo>
                  <a:pt x="441" y="659"/>
                </a:lnTo>
                <a:lnTo>
                  <a:pt x="454" y="663"/>
                </a:lnTo>
                <a:lnTo>
                  <a:pt x="458" y="664"/>
                </a:lnTo>
                <a:lnTo>
                  <a:pt x="469" y="661"/>
                </a:lnTo>
                <a:lnTo>
                  <a:pt x="481" y="655"/>
                </a:lnTo>
                <a:lnTo>
                  <a:pt x="487" y="646"/>
                </a:lnTo>
                <a:lnTo>
                  <a:pt x="491" y="633"/>
                </a:lnTo>
                <a:lnTo>
                  <a:pt x="504" y="516"/>
                </a:lnTo>
                <a:lnTo>
                  <a:pt x="530" y="463"/>
                </a:lnTo>
                <a:lnTo>
                  <a:pt x="534" y="524"/>
                </a:lnTo>
                <a:lnTo>
                  <a:pt x="535" y="530"/>
                </a:lnTo>
                <a:lnTo>
                  <a:pt x="536" y="535"/>
                </a:lnTo>
                <a:lnTo>
                  <a:pt x="582" y="643"/>
                </a:lnTo>
                <a:lnTo>
                  <a:pt x="590" y="655"/>
                </a:lnTo>
                <a:lnTo>
                  <a:pt x="600" y="661"/>
                </a:lnTo>
                <a:lnTo>
                  <a:pt x="614" y="665"/>
                </a:lnTo>
                <a:lnTo>
                  <a:pt x="619" y="664"/>
                </a:lnTo>
                <a:lnTo>
                  <a:pt x="626" y="661"/>
                </a:lnTo>
                <a:lnTo>
                  <a:pt x="637" y="655"/>
                </a:lnTo>
                <a:lnTo>
                  <a:pt x="644" y="643"/>
                </a:lnTo>
                <a:lnTo>
                  <a:pt x="648" y="631"/>
                </a:lnTo>
                <a:lnTo>
                  <a:pt x="644" y="617"/>
                </a:ln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89595" tIns="44797" rIns="89595" bIns="44797" numCol="1" anchor="t" anchorCtr="0" compatLnSpc="1">
            <a:prstTxWarp prst="textNoShape">
              <a:avLst/>
            </a:prstTxWarp>
          </a:bodyPr>
          <a:lstStyle/>
          <a:p>
            <a:endParaRPr lang="en-US" sz="120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97" name="Rectangle 25"/>
          <p:cNvSpPr txBox="1">
            <a:spLocks/>
          </p:cNvSpPr>
          <p:nvPr>
            <p:custDataLst>
              <p:tags r:id="rId17"/>
            </p:custDataLst>
          </p:nvPr>
        </p:nvSpPr>
        <p:spPr>
          <a:xfrm>
            <a:off x="8729089" y="1784647"/>
            <a:ext cx="1416005" cy="1193061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vert="horz" lIns="74643" tIns="74643" rIns="74643" bIns="74643" rtlCol="0" anchor="t" anchorCtr="0">
            <a:noAutofit/>
          </a:bodyPr>
          <a:lstStyle>
            <a:defPPr>
              <a:defRPr lang="en-US"/>
            </a:defPPr>
            <a:lvl1pPr lvl="0" indent="0" defTabSz="457063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Arial"/>
              <a:buNone/>
            </a:lvl1pPr>
            <a:lvl2pPr marL="0" lvl="1" indent="0" defTabSz="457063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FontTx/>
              <a:buNone/>
              <a:defRPr sz="1400" baseline="0">
                <a:solidFill>
                  <a:schemeClr val="tx2"/>
                </a:solidFill>
              </a:defRPr>
            </a:lvl2pPr>
            <a:lvl3pPr marL="228531" lvl="2" indent="-228531" defTabSz="457063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Font typeface="Lucida Grande"/>
              <a:buChar char="–"/>
              <a:defRPr sz="1400" baseline="0">
                <a:solidFill>
                  <a:schemeClr val="tx2"/>
                </a:solidFill>
              </a:defRPr>
            </a:lvl3pPr>
            <a:lvl4pPr marL="457063" lvl="3" indent="-231705" defTabSz="457063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Font typeface="Arial"/>
              <a:buChar char="•"/>
              <a:defRPr sz="1400">
                <a:solidFill>
                  <a:schemeClr val="tx2"/>
                </a:solidFill>
              </a:defRPr>
            </a:lvl4pPr>
            <a:lvl5pPr marL="685594" lvl="4" indent="-228531" defTabSz="457063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Font typeface="Lucida Grande"/>
              <a:buChar char="–"/>
              <a:defRPr sz="1400">
                <a:solidFill>
                  <a:schemeClr val="tx2"/>
                </a:solidFill>
              </a:defRPr>
            </a:lvl5pPr>
            <a:lvl6pPr marL="917300" lvl="5" indent="-228531" defTabSz="457063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Font typeface="Lucida Grande"/>
              <a:buChar char="»"/>
              <a:defRPr sz="1400" baseline="0">
                <a:solidFill>
                  <a:schemeClr val="tx2"/>
                </a:solidFill>
              </a:defRPr>
            </a:lvl6pPr>
            <a:lvl7pPr marL="1142657" lvl="6" indent="-225357" defTabSz="457063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Font typeface="Arial"/>
              <a:buChar char="•"/>
              <a:defRPr sz="1400">
                <a:solidFill>
                  <a:schemeClr val="tx2"/>
                </a:solidFill>
              </a:defRPr>
            </a:lvl7pPr>
            <a:lvl8pPr marL="3427971" indent="-228531" defTabSz="457063">
              <a:spcBef>
                <a:spcPct val="20000"/>
              </a:spcBef>
              <a:buFont typeface="Arial"/>
              <a:buChar char="•"/>
              <a:defRPr sz="1999"/>
            </a:lvl8pPr>
            <a:lvl9pPr marL="3885034" indent="-228531" defTabSz="457063">
              <a:spcBef>
                <a:spcPct val="20000"/>
              </a:spcBef>
              <a:buFont typeface="Arial"/>
              <a:buChar char="•"/>
              <a:defRPr sz="1999"/>
            </a:lvl9pPr>
          </a:lstStyle>
          <a:p>
            <a:pPr fontAlgn="auto">
              <a:buClr>
                <a:srgbClr val="000000"/>
              </a:buClr>
            </a:pPr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113" name="TextBox 112"/>
          <p:cNvSpPr txBox="1">
            <a:spLocks/>
          </p:cNvSpPr>
          <p:nvPr/>
        </p:nvSpPr>
        <p:spPr>
          <a:xfrm>
            <a:off x="8779863" y="1862224"/>
            <a:ext cx="1314457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lvl="0" indent="0" defTabSz="12178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 baseline="0"/>
            </a:lvl1pPr>
            <a:lvl2pPr marL="192024" lvl="1" indent="-192024" defTabSz="12178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Calibri" panose="020F0502020204030204" pitchFamily="34" charset="0"/>
              <a:buChar char="▪"/>
              <a:defRPr sz="1400" baseline="0"/>
            </a:lvl2pPr>
            <a:lvl3pPr marL="457200" lvl="2" indent="-265176" defTabSz="12178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 baseline="0"/>
            </a:lvl3pPr>
            <a:lvl4pPr marL="612648" lvl="3" indent="-155448" defTabSz="12178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Calibri" panose="020F0502020204030204" pitchFamily="34" charset="0"/>
              <a:buChar char="▫"/>
              <a:defRPr sz="1400" baseline="0"/>
            </a:lvl4pPr>
            <a:lvl5pPr marL="749808" lvl="4" indent="-128016" defTabSz="12178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/>
            </a:lvl5pPr>
            <a:lvl6pPr marL="1019860" indent="-177060" defTabSz="12178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00" baseline="0"/>
            </a:lvl6pPr>
            <a:lvl7pPr marL="1019860" indent="-177060" defTabSz="12178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00" baseline="0"/>
            </a:lvl7pPr>
            <a:lvl8pPr marL="1019860" indent="-177060" defTabSz="12178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00" baseline="0"/>
            </a:lvl8pPr>
            <a:lvl9pPr marL="1019860" indent="-177060" defTabSz="12178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00" baseline="0"/>
            </a:lvl9pPr>
          </a:lstStyle>
          <a:p>
            <a:pPr>
              <a:buClr>
                <a:srgbClr val="000000"/>
              </a:buClr>
            </a:pPr>
            <a:r>
              <a:rPr lang="en-US" sz="1200" b="1" dirty="0">
                <a:solidFill>
                  <a:srgbClr val="FFFFFF"/>
                </a:solidFill>
                <a:latin typeface="+mn-lt"/>
              </a:rPr>
              <a:t>Seller </a:t>
            </a:r>
          </a:p>
          <a:p>
            <a:pPr>
              <a:buClr>
                <a:srgbClr val="000000"/>
              </a:buClr>
            </a:pPr>
            <a:r>
              <a:rPr lang="en-US" sz="1200" b="1" dirty="0">
                <a:solidFill>
                  <a:srgbClr val="FFFFFF"/>
                </a:solidFill>
                <a:latin typeface="+mn-lt"/>
              </a:rPr>
              <a:t>Workshop </a:t>
            </a:r>
          </a:p>
        </p:txBody>
      </p:sp>
      <p:sp>
        <p:nvSpPr>
          <p:cNvPr id="153" name="Freeform 1525"/>
          <p:cNvSpPr>
            <a:spLocks noEditPoints="1"/>
          </p:cNvSpPr>
          <p:nvPr/>
        </p:nvSpPr>
        <p:spPr bwMode="auto">
          <a:xfrm>
            <a:off x="9265278" y="2463861"/>
            <a:ext cx="343627" cy="379756"/>
          </a:xfrm>
          <a:custGeom>
            <a:avLst/>
            <a:gdLst>
              <a:gd name="T0" fmla="*/ 375 w 708"/>
              <a:gd name="T1" fmla="*/ 215 h 683"/>
              <a:gd name="T2" fmla="*/ 363 w 708"/>
              <a:gd name="T3" fmla="*/ 170 h 683"/>
              <a:gd name="T4" fmla="*/ 337 w 708"/>
              <a:gd name="T5" fmla="*/ 149 h 683"/>
              <a:gd name="T6" fmla="*/ 337 w 708"/>
              <a:gd name="T7" fmla="*/ 209 h 683"/>
              <a:gd name="T8" fmla="*/ 322 w 708"/>
              <a:gd name="T9" fmla="*/ 170 h 683"/>
              <a:gd name="T10" fmla="*/ 277 w 708"/>
              <a:gd name="T11" fmla="*/ 144 h 683"/>
              <a:gd name="T12" fmla="*/ 228 w 708"/>
              <a:gd name="T13" fmla="*/ 195 h 683"/>
              <a:gd name="T14" fmla="*/ 258 w 708"/>
              <a:gd name="T15" fmla="*/ 436 h 683"/>
              <a:gd name="T16" fmla="*/ 281 w 708"/>
              <a:gd name="T17" fmla="*/ 414 h 683"/>
              <a:gd name="T18" fmla="*/ 314 w 708"/>
              <a:gd name="T19" fmla="*/ 683 h 683"/>
              <a:gd name="T20" fmla="*/ 359 w 708"/>
              <a:gd name="T21" fmla="*/ 414 h 683"/>
              <a:gd name="T22" fmla="*/ 406 w 708"/>
              <a:gd name="T23" fmla="*/ 680 h 683"/>
              <a:gd name="T24" fmla="*/ 427 w 708"/>
              <a:gd name="T25" fmla="*/ 247 h 683"/>
              <a:gd name="T26" fmla="*/ 461 w 708"/>
              <a:gd name="T27" fmla="*/ 439 h 683"/>
              <a:gd name="T28" fmla="*/ 479 w 708"/>
              <a:gd name="T29" fmla="*/ 180 h 683"/>
              <a:gd name="T30" fmla="*/ 418 w 708"/>
              <a:gd name="T31" fmla="*/ 141 h 683"/>
              <a:gd name="T32" fmla="*/ 386 w 708"/>
              <a:gd name="T33" fmla="*/ 100 h 683"/>
              <a:gd name="T34" fmla="*/ 386 w 708"/>
              <a:gd name="T35" fmla="*/ 11 h 683"/>
              <a:gd name="T36" fmla="*/ 301 w 708"/>
              <a:gd name="T37" fmla="*/ 38 h 683"/>
              <a:gd name="T38" fmla="*/ 354 w 708"/>
              <a:gd name="T39" fmla="*/ 112 h 683"/>
              <a:gd name="T40" fmla="*/ 668 w 708"/>
              <a:gd name="T41" fmla="*/ 148 h 683"/>
              <a:gd name="T42" fmla="*/ 631 w 708"/>
              <a:gd name="T43" fmla="*/ 170 h 683"/>
              <a:gd name="T44" fmla="*/ 619 w 708"/>
              <a:gd name="T45" fmla="*/ 178 h 683"/>
              <a:gd name="T46" fmla="*/ 609 w 708"/>
              <a:gd name="T47" fmla="*/ 139 h 683"/>
              <a:gd name="T48" fmla="*/ 597 w 708"/>
              <a:gd name="T49" fmla="*/ 192 h 683"/>
              <a:gd name="T50" fmla="*/ 585 w 708"/>
              <a:gd name="T51" fmla="*/ 153 h 683"/>
              <a:gd name="T52" fmla="*/ 540 w 708"/>
              <a:gd name="T53" fmla="*/ 151 h 683"/>
              <a:gd name="T54" fmla="*/ 514 w 708"/>
              <a:gd name="T55" fmla="*/ 350 h 683"/>
              <a:gd name="T56" fmla="*/ 552 w 708"/>
              <a:gd name="T57" fmla="*/ 221 h 683"/>
              <a:gd name="T58" fmla="*/ 564 w 708"/>
              <a:gd name="T59" fmla="*/ 530 h 683"/>
              <a:gd name="T60" fmla="*/ 605 w 708"/>
              <a:gd name="T61" fmla="*/ 513 h 683"/>
              <a:gd name="T62" fmla="*/ 628 w 708"/>
              <a:gd name="T63" fmla="*/ 536 h 683"/>
              <a:gd name="T64" fmla="*/ 662 w 708"/>
              <a:gd name="T65" fmla="*/ 343 h 683"/>
              <a:gd name="T66" fmla="*/ 676 w 708"/>
              <a:gd name="T67" fmla="*/ 357 h 683"/>
              <a:gd name="T68" fmla="*/ 610 w 708"/>
              <a:gd name="T69" fmla="*/ 123 h 683"/>
              <a:gd name="T70" fmla="*/ 638 w 708"/>
              <a:gd name="T71" fmla="*/ 54 h 683"/>
              <a:gd name="T72" fmla="*/ 569 w 708"/>
              <a:gd name="T73" fmla="*/ 82 h 683"/>
              <a:gd name="T74" fmla="*/ 123 w 708"/>
              <a:gd name="T75" fmla="*/ 153 h 683"/>
              <a:gd name="T76" fmla="*/ 110 w 708"/>
              <a:gd name="T77" fmla="*/ 192 h 683"/>
              <a:gd name="T78" fmla="*/ 99 w 708"/>
              <a:gd name="T79" fmla="*/ 139 h 683"/>
              <a:gd name="T80" fmla="*/ 88 w 708"/>
              <a:gd name="T81" fmla="*/ 178 h 683"/>
              <a:gd name="T82" fmla="*/ 76 w 708"/>
              <a:gd name="T83" fmla="*/ 170 h 683"/>
              <a:gd name="T84" fmla="*/ 39 w 708"/>
              <a:gd name="T85" fmla="*/ 148 h 683"/>
              <a:gd name="T86" fmla="*/ 0 w 708"/>
              <a:gd name="T87" fmla="*/ 339 h 683"/>
              <a:gd name="T88" fmla="*/ 41 w 708"/>
              <a:gd name="T89" fmla="*/ 339 h 683"/>
              <a:gd name="T90" fmla="*/ 47 w 708"/>
              <a:gd name="T91" fmla="*/ 522 h 683"/>
              <a:gd name="T92" fmla="*/ 92 w 708"/>
              <a:gd name="T93" fmla="*/ 522 h 683"/>
              <a:gd name="T94" fmla="*/ 109 w 708"/>
              <a:gd name="T95" fmla="*/ 530 h 683"/>
              <a:gd name="T96" fmla="*/ 151 w 708"/>
              <a:gd name="T97" fmla="*/ 513 h 683"/>
              <a:gd name="T98" fmla="*/ 158 w 708"/>
              <a:gd name="T99" fmla="*/ 350 h 683"/>
              <a:gd name="T100" fmla="*/ 190 w 708"/>
              <a:gd name="T101" fmla="*/ 184 h 683"/>
              <a:gd name="T102" fmla="*/ 147 w 708"/>
              <a:gd name="T103" fmla="*/ 144 h 683"/>
              <a:gd name="T104" fmla="*/ 127 w 708"/>
              <a:gd name="T105" fmla="*/ 111 h 683"/>
              <a:gd name="T106" fmla="*/ 98 w 708"/>
              <a:gd name="T107" fmla="*/ 42 h 683"/>
              <a:gd name="T108" fmla="*/ 70 w 708"/>
              <a:gd name="T109" fmla="*/ 111 h 68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708" h="683">
                <a:moveTo>
                  <a:pt x="390" y="127"/>
                </a:moveTo>
                <a:lnTo>
                  <a:pt x="389" y="150"/>
                </a:lnTo>
                <a:lnTo>
                  <a:pt x="385" y="170"/>
                </a:lnTo>
                <a:lnTo>
                  <a:pt x="382" y="188"/>
                </a:lnTo>
                <a:lnTo>
                  <a:pt x="377" y="204"/>
                </a:lnTo>
                <a:lnTo>
                  <a:pt x="375" y="215"/>
                </a:lnTo>
                <a:lnTo>
                  <a:pt x="373" y="222"/>
                </a:lnTo>
                <a:lnTo>
                  <a:pt x="372" y="224"/>
                </a:lnTo>
                <a:lnTo>
                  <a:pt x="371" y="209"/>
                </a:lnTo>
                <a:lnTo>
                  <a:pt x="368" y="194"/>
                </a:lnTo>
                <a:lnTo>
                  <a:pt x="366" y="180"/>
                </a:lnTo>
                <a:lnTo>
                  <a:pt x="363" y="170"/>
                </a:lnTo>
                <a:lnTo>
                  <a:pt x="361" y="164"/>
                </a:lnTo>
                <a:lnTo>
                  <a:pt x="359" y="161"/>
                </a:lnTo>
                <a:lnTo>
                  <a:pt x="371" y="149"/>
                </a:lnTo>
                <a:lnTo>
                  <a:pt x="355" y="133"/>
                </a:lnTo>
                <a:lnTo>
                  <a:pt x="353" y="133"/>
                </a:lnTo>
                <a:lnTo>
                  <a:pt x="337" y="149"/>
                </a:lnTo>
                <a:lnTo>
                  <a:pt x="348" y="161"/>
                </a:lnTo>
                <a:lnTo>
                  <a:pt x="347" y="164"/>
                </a:lnTo>
                <a:lnTo>
                  <a:pt x="345" y="170"/>
                </a:lnTo>
                <a:lnTo>
                  <a:pt x="341" y="180"/>
                </a:lnTo>
                <a:lnTo>
                  <a:pt x="339" y="194"/>
                </a:lnTo>
                <a:lnTo>
                  <a:pt x="337" y="209"/>
                </a:lnTo>
                <a:lnTo>
                  <a:pt x="336" y="224"/>
                </a:lnTo>
                <a:lnTo>
                  <a:pt x="335" y="222"/>
                </a:lnTo>
                <a:lnTo>
                  <a:pt x="332" y="215"/>
                </a:lnTo>
                <a:lnTo>
                  <a:pt x="330" y="204"/>
                </a:lnTo>
                <a:lnTo>
                  <a:pt x="326" y="188"/>
                </a:lnTo>
                <a:lnTo>
                  <a:pt x="322" y="170"/>
                </a:lnTo>
                <a:lnTo>
                  <a:pt x="319" y="150"/>
                </a:lnTo>
                <a:lnTo>
                  <a:pt x="318" y="127"/>
                </a:lnTo>
                <a:lnTo>
                  <a:pt x="310" y="133"/>
                </a:lnTo>
                <a:lnTo>
                  <a:pt x="301" y="136"/>
                </a:lnTo>
                <a:lnTo>
                  <a:pt x="290" y="141"/>
                </a:lnTo>
                <a:lnTo>
                  <a:pt x="277" y="144"/>
                </a:lnTo>
                <a:lnTo>
                  <a:pt x="265" y="148"/>
                </a:lnTo>
                <a:lnTo>
                  <a:pt x="253" y="153"/>
                </a:lnTo>
                <a:lnTo>
                  <a:pt x="243" y="160"/>
                </a:lnTo>
                <a:lnTo>
                  <a:pt x="234" y="169"/>
                </a:lnTo>
                <a:lnTo>
                  <a:pt x="229" y="180"/>
                </a:lnTo>
                <a:lnTo>
                  <a:pt x="228" y="195"/>
                </a:lnTo>
                <a:lnTo>
                  <a:pt x="217" y="410"/>
                </a:lnTo>
                <a:lnTo>
                  <a:pt x="220" y="422"/>
                </a:lnTo>
                <a:lnTo>
                  <a:pt x="226" y="431"/>
                </a:lnTo>
                <a:lnTo>
                  <a:pt x="235" y="436"/>
                </a:lnTo>
                <a:lnTo>
                  <a:pt x="247" y="439"/>
                </a:lnTo>
                <a:lnTo>
                  <a:pt x="258" y="436"/>
                </a:lnTo>
                <a:lnTo>
                  <a:pt x="267" y="431"/>
                </a:lnTo>
                <a:lnTo>
                  <a:pt x="274" y="422"/>
                </a:lnTo>
                <a:lnTo>
                  <a:pt x="276" y="410"/>
                </a:lnTo>
                <a:lnTo>
                  <a:pt x="276" y="247"/>
                </a:lnTo>
                <a:lnTo>
                  <a:pt x="281" y="247"/>
                </a:lnTo>
                <a:lnTo>
                  <a:pt x="281" y="414"/>
                </a:lnTo>
                <a:lnTo>
                  <a:pt x="281" y="414"/>
                </a:lnTo>
                <a:lnTo>
                  <a:pt x="281" y="649"/>
                </a:lnTo>
                <a:lnTo>
                  <a:pt x="284" y="662"/>
                </a:lnTo>
                <a:lnTo>
                  <a:pt x="291" y="673"/>
                </a:lnTo>
                <a:lnTo>
                  <a:pt x="302" y="680"/>
                </a:lnTo>
                <a:lnTo>
                  <a:pt x="314" y="683"/>
                </a:lnTo>
                <a:lnTo>
                  <a:pt x="328" y="680"/>
                </a:lnTo>
                <a:lnTo>
                  <a:pt x="339" y="673"/>
                </a:lnTo>
                <a:lnTo>
                  <a:pt x="346" y="662"/>
                </a:lnTo>
                <a:lnTo>
                  <a:pt x="348" y="649"/>
                </a:lnTo>
                <a:lnTo>
                  <a:pt x="348" y="414"/>
                </a:lnTo>
                <a:lnTo>
                  <a:pt x="359" y="414"/>
                </a:lnTo>
                <a:lnTo>
                  <a:pt x="359" y="649"/>
                </a:lnTo>
                <a:lnTo>
                  <a:pt x="362" y="662"/>
                </a:lnTo>
                <a:lnTo>
                  <a:pt x="368" y="673"/>
                </a:lnTo>
                <a:lnTo>
                  <a:pt x="380" y="680"/>
                </a:lnTo>
                <a:lnTo>
                  <a:pt x="393" y="683"/>
                </a:lnTo>
                <a:lnTo>
                  <a:pt x="406" y="680"/>
                </a:lnTo>
                <a:lnTo>
                  <a:pt x="417" y="673"/>
                </a:lnTo>
                <a:lnTo>
                  <a:pt x="424" y="662"/>
                </a:lnTo>
                <a:lnTo>
                  <a:pt x="427" y="649"/>
                </a:lnTo>
                <a:lnTo>
                  <a:pt x="427" y="414"/>
                </a:lnTo>
                <a:lnTo>
                  <a:pt x="427" y="414"/>
                </a:lnTo>
                <a:lnTo>
                  <a:pt x="427" y="247"/>
                </a:lnTo>
                <a:lnTo>
                  <a:pt x="432" y="247"/>
                </a:lnTo>
                <a:lnTo>
                  <a:pt x="432" y="410"/>
                </a:lnTo>
                <a:lnTo>
                  <a:pt x="434" y="422"/>
                </a:lnTo>
                <a:lnTo>
                  <a:pt x="441" y="431"/>
                </a:lnTo>
                <a:lnTo>
                  <a:pt x="450" y="436"/>
                </a:lnTo>
                <a:lnTo>
                  <a:pt x="461" y="439"/>
                </a:lnTo>
                <a:lnTo>
                  <a:pt x="472" y="436"/>
                </a:lnTo>
                <a:lnTo>
                  <a:pt x="481" y="431"/>
                </a:lnTo>
                <a:lnTo>
                  <a:pt x="488" y="422"/>
                </a:lnTo>
                <a:lnTo>
                  <a:pt x="490" y="410"/>
                </a:lnTo>
                <a:lnTo>
                  <a:pt x="480" y="195"/>
                </a:lnTo>
                <a:lnTo>
                  <a:pt x="479" y="180"/>
                </a:lnTo>
                <a:lnTo>
                  <a:pt x="473" y="169"/>
                </a:lnTo>
                <a:lnTo>
                  <a:pt x="464" y="160"/>
                </a:lnTo>
                <a:lnTo>
                  <a:pt x="454" y="153"/>
                </a:lnTo>
                <a:lnTo>
                  <a:pt x="443" y="148"/>
                </a:lnTo>
                <a:lnTo>
                  <a:pt x="430" y="144"/>
                </a:lnTo>
                <a:lnTo>
                  <a:pt x="418" y="141"/>
                </a:lnTo>
                <a:lnTo>
                  <a:pt x="407" y="136"/>
                </a:lnTo>
                <a:lnTo>
                  <a:pt x="398" y="133"/>
                </a:lnTo>
                <a:lnTo>
                  <a:pt x="390" y="127"/>
                </a:lnTo>
                <a:close/>
                <a:moveTo>
                  <a:pt x="354" y="112"/>
                </a:moveTo>
                <a:lnTo>
                  <a:pt x="372" y="108"/>
                </a:lnTo>
                <a:lnTo>
                  <a:pt x="386" y="100"/>
                </a:lnTo>
                <a:lnTo>
                  <a:pt x="399" y="89"/>
                </a:lnTo>
                <a:lnTo>
                  <a:pt x="407" y="73"/>
                </a:lnTo>
                <a:lnTo>
                  <a:pt x="409" y="56"/>
                </a:lnTo>
                <a:lnTo>
                  <a:pt x="407" y="38"/>
                </a:lnTo>
                <a:lnTo>
                  <a:pt x="399" y="23"/>
                </a:lnTo>
                <a:lnTo>
                  <a:pt x="386" y="11"/>
                </a:lnTo>
                <a:lnTo>
                  <a:pt x="372" y="3"/>
                </a:lnTo>
                <a:lnTo>
                  <a:pt x="354" y="0"/>
                </a:lnTo>
                <a:lnTo>
                  <a:pt x="336" y="3"/>
                </a:lnTo>
                <a:lnTo>
                  <a:pt x="321" y="11"/>
                </a:lnTo>
                <a:lnTo>
                  <a:pt x="309" y="23"/>
                </a:lnTo>
                <a:lnTo>
                  <a:pt x="301" y="38"/>
                </a:lnTo>
                <a:lnTo>
                  <a:pt x="299" y="56"/>
                </a:lnTo>
                <a:lnTo>
                  <a:pt x="301" y="73"/>
                </a:lnTo>
                <a:lnTo>
                  <a:pt x="309" y="89"/>
                </a:lnTo>
                <a:lnTo>
                  <a:pt x="321" y="100"/>
                </a:lnTo>
                <a:lnTo>
                  <a:pt x="336" y="108"/>
                </a:lnTo>
                <a:lnTo>
                  <a:pt x="354" y="112"/>
                </a:lnTo>
                <a:close/>
                <a:moveTo>
                  <a:pt x="701" y="184"/>
                </a:moveTo>
                <a:lnTo>
                  <a:pt x="700" y="171"/>
                </a:lnTo>
                <a:lnTo>
                  <a:pt x="694" y="162"/>
                </a:lnTo>
                <a:lnTo>
                  <a:pt x="688" y="156"/>
                </a:lnTo>
                <a:lnTo>
                  <a:pt x="679" y="151"/>
                </a:lnTo>
                <a:lnTo>
                  <a:pt x="668" y="148"/>
                </a:lnTo>
                <a:lnTo>
                  <a:pt x="659" y="144"/>
                </a:lnTo>
                <a:lnTo>
                  <a:pt x="649" y="142"/>
                </a:lnTo>
                <a:lnTo>
                  <a:pt x="641" y="139"/>
                </a:lnTo>
                <a:lnTo>
                  <a:pt x="636" y="134"/>
                </a:lnTo>
                <a:lnTo>
                  <a:pt x="635" y="153"/>
                </a:lnTo>
                <a:lnTo>
                  <a:pt x="631" y="170"/>
                </a:lnTo>
                <a:lnTo>
                  <a:pt x="628" y="185"/>
                </a:lnTo>
                <a:lnTo>
                  <a:pt x="626" y="195"/>
                </a:lnTo>
                <a:lnTo>
                  <a:pt x="623" y="202"/>
                </a:lnTo>
                <a:lnTo>
                  <a:pt x="622" y="205"/>
                </a:lnTo>
                <a:lnTo>
                  <a:pt x="621" y="192"/>
                </a:lnTo>
                <a:lnTo>
                  <a:pt x="619" y="178"/>
                </a:lnTo>
                <a:lnTo>
                  <a:pt x="616" y="168"/>
                </a:lnTo>
                <a:lnTo>
                  <a:pt x="614" y="161"/>
                </a:lnTo>
                <a:lnTo>
                  <a:pt x="614" y="159"/>
                </a:lnTo>
                <a:lnTo>
                  <a:pt x="621" y="150"/>
                </a:lnTo>
                <a:lnTo>
                  <a:pt x="610" y="139"/>
                </a:lnTo>
                <a:lnTo>
                  <a:pt x="609" y="139"/>
                </a:lnTo>
                <a:lnTo>
                  <a:pt x="597" y="150"/>
                </a:lnTo>
                <a:lnTo>
                  <a:pt x="605" y="159"/>
                </a:lnTo>
                <a:lnTo>
                  <a:pt x="604" y="161"/>
                </a:lnTo>
                <a:lnTo>
                  <a:pt x="602" y="168"/>
                </a:lnTo>
                <a:lnTo>
                  <a:pt x="600" y="178"/>
                </a:lnTo>
                <a:lnTo>
                  <a:pt x="597" y="192"/>
                </a:lnTo>
                <a:lnTo>
                  <a:pt x="596" y="205"/>
                </a:lnTo>
                <a:lnTo>
                  <a:pt x="595" y="202"/>
                </a:lnTo>
                <a:lnTo>
                  <a:pt x="594" y="195"/>
                </a:lnTo>
                <a:lnTo>
                  <a:pt x="591" y="185"/>
                </a:lnTo>
                <a:lnTo>
                  <a:pt x="587" y="170"/>
                </a:lnTo>
                <a:lnTo>
                  <a:pt x="585" y="153"/>
                </a:lnTo>
                <a:lnTo>
                  <a:pt x="583" y="134"/>
                </a:lnTo>
                <a:lnTo>
                  <a:pt x="577" y="139"/>
                </a:lnTo>
                <a:lnTo>
                  <a:pt x="569" y="142"/>
                </a:lnTo>
                <a:lnTo>
                  <a:pt x="560" y="144"/>
                </a:lnTo>
                <a:lnTo>
                  <a:pt x="550" y="148"/>
                </a:lnTo>
                <a:lnTo>
                  <a:pt x="540" y="151"/>
                </a:lnTo>
                <a:lnTo>
                  <a:pt x="532" y="156"/>
                </a:lnTo>
                <a:lnTo>
                  <a:pt x="524" y="162"/>
                </a:lnTo>
                <a:lnTo>
                  <a:pt x="520" y="171"/>
                </a:lnTo>
                <a:lnTo>
                  <a:pt x="517" y="184"/>
                </a:lnTo>
                <a:lnTo>
                  <a:pt x="511" y="339"/>
                </a:lnTo>
                <a:lnTo>
                  <a:pt x="514" y="350"/>
                </a:lnTo>
                <a:lnTo>
                  <a:pt x="521" y="357"/>
                </a:lnTo>
                <a:lnTo>
                  <a:pt x="532" y="361"/>
                </a:lnTo>
                <a:lnTo>
                  <a:pt x="542" y="357"/>
                </a:lnTo>
                <a:lnTo>
                  <a:pt x="550" y="350"/>
                </a:lnTo>
                <a:lnTo>
                  <a:pt x="552" y="339"/>
                </a:lnTo>
                <a:lnTo>
                  <a:pt x="552" y="221"/>
                </a:lnTo>
                <a:lnTo>
                  <a:pt x="557" y="221"/>
                </a:lnTo>
                <a:lnTo>
                  <a:pt x="557" y="343"/>
                </a:lnTo>
                <a:lnTo>
                  <a:pt x="557" y="343"/>
                </a:lnTo>
                <a:lnTo>
                  <a:pt x="557" y="513"/>
                </a:lnTo>
                <a:lnTo>
                  <a:pt x="559" y="522"/>
                </a:lnTo>
                <a:lnTo>
                  <a:pt x="564" y="530"/>
                </a:lnTo>
                <a:lnTo>
                  <a:pt x="571" y="536"/>
                </a:lnTo>
                <a:lnTo>
                  <a:pt x="582" y="537"/>
                </a:lnTo>
                <a:lnTo>
                  <a:pt x="591" y="536"/>
                </a:lnTo>
                <a:lnTo>
                  <a:pt x="598" y="530"/>
                </a:lnTo>
                <a:lnTo>
                  <a:pt x="604" y="522"/>
                </a:lnTo>
                <a:lnTo>
                  <a:pt x="605" y="513"/>
                </a:lnTo>
                <a:lnTo>
                  <a:pt x="605" y="343"/>
                </a:lnTo>
                <a:lnTo>
                  <a:pt x="613" y="343"/>
                </a:lnTo>
                <a:lnTo>
                  <a:pt x="613" y="513"/>
                </a:lnTo>
                <a:lnTo>
                  <a:pt x="615" y="522"/>
                </a:lnTo>
                <a:lnTo>
                  <a:pt x="620" y="530"/>
                </a:lnTo>
                <a:lnTo>
                  <a:pt x="628" y="536"/>
                </a:lnTo>
                <a:lnTo>
                  <a:pt x="638" y="537"/>
                </a:lnTo>
                <a:lnTo>
                  <a:pt x="647" y="536"/>
                </a:lnTo>
                <a:lnTo>
                  <a:pt x="655" y="530"/>
                </a:lnTo>
                <a:lnTo>
                  <a:pt x="660" y="522"/>
                </a:lnTo>
                <a:lnTo>
                  <a:pt x="662" y="513"/>
                </a:lnTo>
                <a:lnTo>
                  <a:pt x="662" y="343"/>
                </a:lnTo>
                <a:lnTo>
                  <a:pt x="663" y="343"/>
                </a:lnTo>
                <a:lnTo>
                  <a:pt x="663" y="221"/>
                </a:lnTo>
                <a:lnTo>
                  <a:pt x="666" y="221"/>
                </a:lnTo>
                <a:lnTo>
                  <a:pt x="666" y="339"/>
                </a:lnTo>
                <a:lnTo>
                  <a:pt x="669" y="350"/>
                </a:lnTo>
                <a:lnTo>
                  <a:pt x="676" y="357"/>
                </a:lnTo>
                <a:lnTo>
                  <a:pt x="688" y="361"/>
                </a:lnTo>
                <a:lnTo>
                  <a:pt x="698" y="357"/>
                </a:lnTo>
                <a:lnTo>
                  <a:pt x="706" y="350"/>
                </a:lnTo>
                <a:lnTo>
                  <a:pt x="708" y="339"/>
                </a:lnTo>
                <a:lnTo>
                  <a:pt x="701" y="184"/>
                </a:lnTo>
                <a:close/>
                <a:moveTo>
                  <a:pt x="610" y="123"/>
                </a:moveTo>
                <a:lnTo>
                  <a:pt x="626" y="120"/>
                </a:lnTo>
                <a:lnTo>
                  <a:pt x="638" y="111"/>
                </a:lnTo>
                <a:lnTo>
                  <a:pt x="647" y="98"/>
                </a:lnTo>
                <a:lnTo>
                  <a:pt x="649" y="82"/>
                </a:lnTo>
                <a:lnTo>
                  <a:pt x="647" y="67"/>
                </a:lnTo>
                <a:lnTo>
                  <a:pt x="638" y="54"/>
                </a:lnTo>
                <a:lnTo>
                  <a:pt x="626" y="45"/>
                </a:lnTo>
                <a:lnTo>
                  <a:pt x="610" y="42"/>
                </a:lnTo>
                <a:lnTo>
                  <a:pt x="594" y="45"/>
                </a:lnTo>
                <a:lnTo>
                  <a:pt x="580" y="54"/>
                </a:lnTo>
                <a:lnTo>
                  <a:pt x="573" y="67"/>
                </a:lnTo>
                <a:lnTo>
                  <a:pt x="569" y="82"/>
                </a:lnTo>
                <a:lnTo>
                  <a:pt x="573" y="98"/>
                </a:lnTo>
                <a:lnTo>
                  <a:pt x="580" y="111"/>
                </a:lnTo>
                <a:lnTo>
                  <a:pt x="594" y="120"/>
                </a:lnTo>
                <a:lnTo>
                  <a:pt x="610" y="123"/>
                </a:lnTo>
                <a:close/>
                <a:moveTo>
                  <a:pt x="125" y="134"/>
                </a:moveTo>
                <a:lnTo>
                  <a:pt x="123" y="153"/>
                </a:lnTo>
                <a:lnTo>
                  <a:pt x="120" y="170"/>
                </a:lnTo>
                <a:lnTo>
                  <a:pt x="117" y="185"/>
                </a:lnTo>
                <a:lnTo>
                  <a:pt x="114" y="195"/>
                </a:lnTo>
                <a:lnTo>
                  <a:pt x="111" y="202"/>
                </a:lnTo>
                <a:lnTo>
                  <a:pt x="111" y="205"/>
                </a:lnTo>
                <a:lnTo>
                  <a:pt x="110" y="192"/>
                </a:lnTo>
                <a:lnTo>
                  <a:pt x="108" y="178"/>
                </a:lnTo>
                <a:lnTo>
                  <a:pt x="106" y="168"/>
                </a:lnTo>
                <a:lnTo>
                  <a:pt x="103" y="161"/>
                </a:lnTo>
                <a:lnTo>
                  <a:pt x="102" y="159"/>
                </a:lnTo>
                <a:lnTo>
                  <a:pt x="110" y="150"/>
                </a:lnTo>
                <a:lnTo>
                  <a:pt x="99" y="139"/>
                </a:lnTo>
                <a:lnTo>
                  <a:pt x="98" y="139"/>
                </a:lnTo>
                <a:lnTo>
                  <a:pt x="87" y="150"/>
                </a:lnTo>
                <a:lnTo>
                  <a:pt x="93" y="159"/>
                </a:lnTo>
                <a:lnTo>
                  <a:pt x="93" y="161"/>
                </a:lnTo>
                <a:lnTo>
                  <a:pt x="91" y="168"/>
                </a:lnTo>
                <a:lnTo>
                  <a:pt x="88" y="178"/>
                </a:lnTo>
                <a:lnTo>
                  <a:pt x="87" y="192"/>
                </a:lnTo>
                <a:lnTo>
                  <a:pt x="85" y="205"/>
                </a:lnTo>
                <a:lnTo>
                  <a:pt x="84" y="202"/>
                </a:lnTo>
                <a:lnTo>
                  <a:pt x="82" y="195"/>
                </a:lnTo>
                <a:lnTo>
                  <a:pt x="80" y="185"/>
                </a:lnTo>
                <a:lnTo>
                  <a:pt x="76" y="170"/>
                </a:lnTo>
                <a:lnTo>
                  <a:pt x="73" y="153"/>
                </a:lnTo>
                <a:lnTo>
                  <a:pt x="72" y="134"/>
                </a:lnTo>
                <a:lnTo>
                  <a:pt x="66" y="139"/>
                </a:lnTo>
                <a:lnTo>
                  <a:pt x="58" y="142"/>
                </a:lnTo>
                <a:lnTo>
                  <a:pt x="48" y="144"/>
                </a:lnTo>
                <a:lnTo>
                  <a:pt x="39" y="148"/>
                </a:lnTo>
                <a:lnTo>
                  <a:pt x="29" y="151"/>
                </a:lnTo>
                <a:lnTo>
                  <a:pt x="20" y="156"/>
                </a:lnTo>
                <a:lnTo>
                  <a:pt x="13" y="162"/>
                </a:lnTo>
                <a:lnTo>
                  <a:pt x="8" y="171"/>
                </a:lnTo>
                <a:lnTo>
                  <a:pt x="7" y="184"/>
                </a:lnTo>
                <a:lnTo>
                  <a:pt x="0" y="339"/>
                </a:lnTo>
                <a:lnTo>
                  <a:pt x="2" y="350"/>
                </a:lnTo>
                <a:lnTo>
                  <a:pt x="10" y="357"/>
                </a:lnTo>
                <a:lnTo>
                  <a:pt x="20" y="361"/>
                </a:lnTo>
                <a:lnTo>
                  <a:pt x="31" y="357"/>
                </a:lnTo>
                <a:lnTo>
                  <a:pt x="38" y="350"/>
                </a:lnTo>
                <a:lnTo>
                  <a:pt x="41" y="339"/>
                </a:lnTo>
                <a:lnTo>
                  <a:pt x="41" y="221"/>
                </a:lnTo>
                <a:lnTo>
                  <a:pt x="45" y="221"/>
                </a:lnTo>
                <a:lnTo>
                  <a:pt x="45" y="343"/>
                </a:lnTo>
                <a:lnTo>
                  <a:pt x="45" y="343"/>
                </a:lnTo>
                <a:lnTo>
                  <a:pt x="45" y="513"/>
                </a:lnTo>
                <a:lnTo>
                  <a:pt x="47" y="522"/>
                </a:lnTo>
                <a:lnTo>
                  <a:pt x="53" y="530"/>
                </a:lnTo>
                <a:lnTo>
                  <a:pt x="61" y="536"/>
                </a:lnTo>
                <a:lnTo>
                  <a:pt x="70" y="537"/>
                </a:lnTo>
                <a:lnTo>
                  <a:pt x="80" y="536"/>
                </a:lnTo>
                <a:lnTo>
                  <a:pt x="88" y="530"/>
                </a:lnTo>
                <a:lnTo>
                  <a:pt x="92" y="522"/>
                </a:lnTo>
                <a:lnTo>
                  <a:pt x="94" y="513"/>
                </a:lnTo>
                <a:lnTo>
                  <a:pt x="94" y="343"/>
                </a:lnTo>
                <a:lnTo>
                  <a:pt x="102" y="343"/>
                </a:lnTo>
                <a:lnTo>
                  <a:pt x="102" y="513"/>
                </a:lnTo>
                <a:lnTo>
                  <a:pt x="103" y="522"/>
                </a:lnTo>
                <a:lnTo>
                  <a:pt x="109" y="530"/>
                </a:lnTo>
                <a:lnTo>
                  <a:pt x="117" y="536"/>
                </a:lnTo>
                <a:lnTo>
                  <a:pt x="126" y="537"/>
                </a:lnTo>
                <a:lnTo>
                  <a:pt x="136" y="536"/>
                </a:lnTo>
                <a:lnTo>
                  <a:pt x="144" y="530"/>
                </a:lnTo>
                <a:lnTo>
                  <a:pt x="149" y="522"/>
                </a:lnTo>
                <a:lnTo>
                  <a:pt x="151" y="513"/>
                </a:lnTo>
                <a:lnTo>
                  <a:pt x="151" y="343"/>
                </a:lnTo>
                <a:lnTo>
                  <a:pt x="151" y="343"/>
                </a:lnTo>
                <a:lnTo>
                  <a:pt x="151" y="221"/>
                </a:lnTo>
                <a:lnTo>
                  <a:pt x="155" y="221"/>
                </a:lnTo>
                <a:lnTo>
                  <a:pt x="155" y="339"/>
                </a:lnTo>
                <a:lnTo>
                  <a:pt x="158" y="350"/>
                </a:lnTo>
                <a:lnTo>
                  <a:pt x="166" y="357"/>
                </a:lnTo>
                <a:lnTo>
                  <a:pt x="176" y="361"/>
                </a:lnTo>
                <a:lnTo>
                  <a:pt x="187" y="357"/>
                </a:lnTo>
                <a:lnTo>
                  <a:pt x="194" y="350"/>
                </a:lnTo>
                <a:lnTo>
                  <a:pt x="197" y="339"/>
                </a:lnTo>
                <a:lnTo>
                  <a:pt x="190" y="184"/>
                </a:lnTo>
                <a:lnTo>
                  <a:pt x="188" y="171"/>
                </a:lnTo>
                <a:lnTo>
                  <a:pt x="184" y="162"/>
                </a:lnTo>
                <a:lnTo>
                  <a:pt x="176" y="156"/>
                </a:lnTo>
                <a:lnTo>
                  <a:pt x="167" y="151"/>
                </a:lnTo>
                <a:lnTo>
                  <a:pt x="158" y="148"/>
                </a:lnTo>
                <a:lnTo>
                  <a:pt x="147" y="144"/>
                </a:lnTo>
                <a:lnTo>
                  <a:pt x="138" y="142"/>
                </a:lnTo>
                <a:lnTo>
                  <a:pt x="131" y="139"/>
                </a:lnTo>
                <a:lnTo>
                  <a:pt x="125" y="134"/>
                </a:lnTo>
                <a:close/>
                <a:moveTo>
                  <a:pt x="98" y="123"/>
                </a:moveTo>
                <a:lnTo>
                  <a:pt x="114" y="120"/>
                </a:lnTo>
                <a:lnTo>
                  <a:pt x="127" y="111"/>
                </a:lnTo>
                <a:lnTo>
                  <a:pt x="135" y="98"/>
                </a:lnTo>
                <a:lnTo>
                  <a:pt x="138" y="82"/>
                </a:lnTo>
                <a:lnTo>
                  <a:pt x="135" y="67"/>
                </a:lnTo>
                <a:lnTo>
                  <a:pt x="127" y="54"/>
                </a:lnTo>
                <a:lnTo>
                  <a:pt x="114" y="45"/>
                </a:lnTo>
                <a:lnTo>
                  <a:pt x="98" y="42"/>
                </a:lnTo>
                <a:lnTo>
                  <a:pt x="82" y="45"/>
                </a:lnTo>
                <a:lnTo>
                  <a:pt x="70" y="54"/>
                </a:lnTo>
                <a:lnTo>
                  <a:pt x="61" y="67"/>
                </a:lnTo>
                <a:lnTo>
                  <a:pt x="57" y="82"/>
                </a:lnTo>
                <a:lnTo>
                  <a:pt x="61" y="98"/>
                </a:lnTo>
                <a:lnTo>
                  <a:pt x="70" y="111"/>
                </a:lnTo>
                <a:lnTo>
                  <a:pt x="82" y="120"/>
                </a:lnTo>
                <a:lnTo>
                  <a:pt x="98" y="123"/>
                </a:ln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89595" tIns="44797" rIns="89595" bIns="44797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20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102" name="Rectangle 25"/>
          <p:cNvSpPr txBox="1">
            <a:spLocks/>
          </p:cNvSpPr>
          <p:nvPr>
            <p:custDataLst>
              <p:tags r:id="rId18"/>
            </p:custDataLst>
          </p:nvPr>
        </p:nvSpPr>
        <p:spPr>
          <a:xfrm>
            <a:off x="5726011" y="1784647"/>
            <a:ext cx="1416005" cy="1193061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vert="horz" lIns="74643" tIns="74643" rIns="74643" bIns="74643" rtlCol="0" anchor="t" anchorCtr="0">
            <a:noAutofit/>
          </a:bodyPr>
          <a:lstStyle>
            <a:defPPr>
              <a:defRPr lang="en-US"/>
            </a:defPPr>
            <a:lvl1pPr lvl="0" indent="0" defTabSz="457063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Arial"/>
              <a:buNone/>
            </a:lvl1pPr>
            <a:lvl2pPr marL="0" lvl="1" indent="0" defTabSz="457063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FontTx/>
              <a:buNone/>
              <a:defRPr sz="1400" baseline="0">
                <a:solidFill>
                  <a:schemeClr val="tx2"/>
                </a:solidFill>
              </a:defRPr>
            </a:lvl2pPr>
            <a:lvl3pPr marL="228531" lvl="2" indent="-228531" defTabSz="457063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Font typeface="Lucida Grande"/>
              <a:buChar char="–"/>
              <a:defRPr sz="1400" baseline="0">
                <a:solidFill>
                  <a:schemeClr val="tx2"/>
                </a:solidFill>
              </a:defRPr>
            </a:lvl3pPr>
            <a:lvl4pPr marL="457063" lvl="3" indent="-231705" defTabSz="457063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Font typeface="Arial"/>
              <a:buChar char="•"/>
              <a:defRPr sz="1400">
                <a:solidFill>
                  <a:schemeClr val="tx2"/>
                </a:solidFill>
              </a:defRPr>
            </a:lvl4pPr>
            <a:lvl5pPr marL="685594" lvl="4" indent="-228531" defTabSz="457063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Font typeface="Lucida Grande"/>
              <a:buChar char="–"/>
              <a:defRPr sz="1400">
                <a:solidFill>
                  <a:schemeClr val="tx2"/>
                </a:solidFill>
              </a:defRPr>
            </a:lvl5pPr>
            <a:lvl6pPr marL="917300" lvl="5" indent="-228531" defTabSz="457063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Font typeface="Lucida Grande"/>
              <a:buChar char="»"/>
              <a:defRPr sz="1400" baseline="0">
                <a:solidFill>
                  <a:schemeClr val="tx2"/>
                </a:solidFill>
              </a:defRPr>
            </a:lvl6pPr>
            <a:lvl7pPr marL="1142657" lvl="6" indent="-225357" defTabSz="457063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Font typeface="Arial"/>
              <a:buChar char="•"/>
              <a:defRPr sz="1400">
                <a:solidFill>
                  <a:schemeClr val="tx2"/>
                </a:solidFill>
              </a:defRPr>
            </a:lvl7pPr>
            <a:lvl8pPr marL="3427971" indent="-228531" defTabSz="457063">
              <a:spcBef>
                <a:spcPct val="20000"/>
              </a:spcBef>
              <a:buFont typeface="Arial"/>
              <a:buChar char="•"/>
              <a:defRPr sz="1999"/>
            </a:lvl8pPr>
            <a:lvl9pPr marL="3885034" indent="-228531" defTabSz="457063">
              <a:spcBef>
                <a:spcPct val="20000"/>
              </a:spcBef>
              <a:buFont typeface="Arial"/>
              <a:buChar char="•"/>
              <a:defRPr sz="1999"/>
            </a:lvl9pPr>
          </a:lstStyle>
          <a:p>
            <a:pPr fontAlgn="auto">
              <a:buClr>
                <a:srgbClr val="000000"/>
              </a:buClr>
            </a:pPr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112" name="TextBox 111"/>
          <p:cNvSpPr txBox="1">
            <a:spLocks/>
          </p:cNvSpPr>
          <p:nvPr/>
        </p:nvSpPr>
        <p:spPr>
          <a:xfrm>
            <a:off x="5776785" y="1862224"/>
            <a:ext cx="1314457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lvl="0" indent="0" defTabSz="12178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 baseline="0"/>
            </a:lvl1pPr>
            <a:lvl2pPr marL="192024" lvl="1" indent="-192024" defTabSz="12178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Calibri" panose="020F0502020204030204" pitchFamily="34" charset="0"/>
              <a:buChar char="▪"/>
              <a:defRPr sz="1400" baseline="0"/>
            </a:lvl2pPr>
            <a:lvl3pPr marL="457200" lvl="2" indent="-265176" defTabSz="12178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 baseline="0"/>
            </a:lvl3pPr>
            <a:lvl4pPr marL="612648" lvl="3" indent="-155448" defTabSz="12178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Calibri" panose="020F0502020204030204" pitchFamily="34" charset="0"/>
              <a:buChar char="▫"/>
              <a:defRPr sz="1400" baseline="0"/>
            </a:lvl4pPr>
            <a:lvl5pPr marL="749808" lvl="4" indent="-128016" defTabSz="12178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/>
            </a:lvl5pPr>
            <a:lvl6pPr marL="1019860" indent="-177060" defTabSz="12178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00" baseline="0"/>
            </a:lvl6pPr>
            <a:lvl7pPr marL="1019860" indent="-177060" defTabSz="12178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00" baseline="0"/>
            </a:lvl7pPr>
            <a:lvl8pPr marL="1019860" indent="-177060" defTabSz="12178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00" baseline="0"/>
            </a:lvl8pPr>
            <a:lvl9pPr marL="1019860" indent="-177060" defTabSz="12178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00" baseline="0"/>
            </a:lvl9pPr>
          </a:lstStyle>
          <a:p>
            <a:pPr>
              <a:buClr>
                <a:srgbClr val="FFFFFF"/>
              </a:buClr>
            </a:pPr>
            <a:r>
              <a:rPr lang="en-US" sz="1200" b="1" dirty="0">
                <a:solidFill>
                  <a:srgbClr val="FFFFFF"/>
                </a:solidFill>
                <a:latin typeface="+mn-lt"/>
              </a:rPr>
              <a:t>Sales Manager Workshop </a:t>
            </a:r>
          </a:p>
        </p:txBody>
      </p:sp>
      <p:sp>
        <p:nvSpPr>
          <p:cNvPr id="152" name="Freeform 1528"/>
          <p:cNvSpPr>
            <a:spLocks noEditPoints="1"/>
          </p:cNvSpPr>
          <p:nvPr/>
        </p:nvSpPr>
        <p:spPr bwMode="auto">
          <a:xfrm>
            <a:off x="6262200" y="2463861"/>
            <a:ext cx="343627" cy="379756"/>
          </a:xfrm>
          <a:custGeom>
            <a:avLst/>
            <a:gdLst>
              <a:gd name="T0" fmla="*/ 307 w 745"/>
              <a:gd name="T1" fmla="*/ 50 h 689"/>
              <a:gd name="T2" fmla="*/ 318 w 745"/>
              <a:gd name="T3" fmla="*/ 227 h 689"/>
              <a:gd name="T4" fmla="*/ 706 w 745"/>
              <a:gd name="T5" fmla="*/ 76 h 689"/>
              <a:gd name="T6" fmla="*/ 346 w 745"/>
              <a:gd name="T7" fmla="*/ 307 h 689"/>
              <a:gd name="T8" fmla="*/ 307 w 745"/>
              <a:gd name="T9" fmla="*/ 378 h 689"/>
              <a:gd name="T10" fmla="*/ 745 w 745"/>
              <a:gd name="T11" fmla="*/ 378 h 689"/>
              <a:gd name="T12" fmla="*/ 745 w 745"/>
              <a:gd name="T13" fmla="*/ 76 h 689"/>
              <a:gd name="T14" fmla="*/ 405 w 745"/>
              <a:gd name="T15" fmla="*/ 254 h 689"/>
              <a:gd name="T16" fmla="*/ 398 w 745"/>
              <a:gd name="T17" fmla="*/ 241 h 689"/>
              <a:gd name="T18" fmla="*/ 394 w 745"/>
              <a:gd name="T19" fmla="*/ 257 h 689"/>
              <a:gd name="T20" fmla="*/ 379 w 745"/>
              <a:gd name="T21" fmla="*/ 241 h 689"/>
              <a:gd name="T22" fmla="*/ 245 w 745"/>
              <a:gd name="T23" fmla="*/ 168 h 689"/>
              <a:gd name="T24" fmla="*/ 224 w 745"/>
              <a:gd name="T25" fmla="*/ 149 h 689"/>
              <a:gd name="T26" fmla="*/ 200 w 745"/>
              <a:gd name="T27" fmla="*/ 141 h 689"/>
              <a:gd name="T28" fmla="*/ 173 w 745"/>
              <a:gd name="T29" fmla="*/ 151 h 689"/>
              <a:gd name="T30" fmla="*/ 163 w 745"/>
              <a:gd name="T31" fmla="*/ 205 h 689"/>
              <a:gd name="T32" fmla="*/ 156 w 745"/>
              <a:gd name="T33" fmla="*/ 227 h 689"/>
              <a:gd name="T34" fmla="*/ 150 w 745"/>
              <a:gd name="T35" fmla="*/ 183 h 689"/>
              <a:gd name="T36" fmla="*/ 145 w 745"/>
              <a:gd name="T37" fmla="*/ 162 h 689"/>
              <a:gd name="T38" fmla="*/ 138 w 745"/>
              <a:gd name="T39" fmla="*/ 134 h 689"/>
              <a:gd name="T40" fmla="*/ 131 w 745"/>
              <a:gd name="T41" fmla="*/ 166 h 689"/>
              <a:gd name="T42" fmla="*/ 123 w 745"/>
              <a:gd name="T43" fmla="*/ 196 h 689"/>
              <a:gd name="T44" fmla="*/ 120 w 745"/>
              <a:gd name="T45" fmla="*/ 224 h 689"/>
              <a:gd name="T46" fmla="*/ 110 w 745"/>
              <a:gd name="T47" fmla="*/ 190 h 689"/>
              <a:gd name="T48" fmla="*/ 102 w 745"/>
              <a:gd name="T49" fmla="*/ 128 h 689"/>
              <a:gd name="T50" fmla="*/ 74 w 745"/>
              <a:gd name="T51" fmla="*/ 142 h 689"/>
              <a:gd name="T52" fmla="*/ 38 w 745"/>
              <a:gd name="T53" fmla="*/ 154 h 689"/>
              <a:gd name="T54" fmla="*/ 13 w 745"/>
              <a:gd name="T55" fmla="*/ 183 h 689"/>
              <a:gd name="T56" fmla="*/ 3 w 745"/>
              <a:gd name="T57" fmla="*/ 425 h 689"/>
              <a:gd name="T58" fmla="*/ 30 w 745"/>
              <a:gd name="T59" fmla="*/ 443 h 689"/>
              <a:gd name="T60" fmla="*/ 57 w 745"/>
              <a:gd name="T61" fmla="*/ 425 h 689"/>
              <a:gd name="T62" fmla="*/ 65 w 745"/>
              <a:gd name="T63" fmla="*/ 249 h 689"/>
              <a:gd name="T64" fmla="*/ 65 w 745"/>
              <a:gd name="T65" fmla="*/ 655 h 689"/>
              <a:gd name="T66" fmla="*/ 86 w 745"/>
              <a:gd name="T67" fmla="*/ 687 h 689"/>
              <a:gd name="T68" fmla="*/ 123 w 745"/>
              <a:gd name="T69" fmla="*/ 679 h 689"/>
              <a:gd name="T70" fmla="*/ 134 w 745"/>
              <a:gd name="T71" fmla="*/ 418 h 689"/>
              <a:gd name="T72" fmla="*/ 146 w 745"/>
              <a:gd name="T73" fmla="*/ 668 h 689"/>
              <a:gd name="T74" fmla="*/ 178 w 745"/>
              <a:gd name="T75" fmla="*/ 689 h 689"/>
              <a:gd name="T76" fmla="*/ 209 w 745"/>
              <a:gd name="T77" fmla="*/ 668 h 689"/>
              <a:gd name="T78" fmla="*/ 212 w 745"/>
              <a:gd name="T79" fmla="*/ 418 h 689"/>
              <a:gd name="T80" fmla="*/ 254 w 745"/>
              <a:gd name="T81" fmla="*/ 289 h 689"/>
              <a:gd name="T82" fmla="*/ 367 w 745"/>
              <a:gd name="T83" fmla="*/ 295 h 689"/>
              <a:gd name="T84" fmla="*/ 394 w 745"/>
              <a:gd name="T85" fmla="*/ 277 h 689"/>
              <a:gd name="T86" fmla="*/ 156 w 745"/>
              <a:gd name="T87" fmla="*/ 109 h 689"/>
              <a:gd name="T88" fmla="*/ 192 w 745"/>
              <a:gd name="T89" fmla="*/ 74 h 689"/>
              <a:gd name="T90" fmla="*/ 184 w 745"/>
              <a:gd name="T91" fmla="*/ 24 h 689"/>
              <a:gd name="T92" fmla="*/ 138 w 745"/>
              <a:gd name="T93" fmla="*/ 0 h 689"/>
              <a:gd name="T94" fmla="*/ 93 w 745"/>
              <a:gd name="T95" fmla="*/ 24 h 689"/>
              <a:gd name="T96" fmla="*/ 85 w 745"/>
              <a:gd name="T97" fmla="*/ 74 h 689"/>
              <a:gd name="T98" fmla="*/ 121 w 745"/>
              <a:gd name="T99" fmla="*/ 109 h 689"/>
              <a:gd name="T100" fmla="*/ 533 w 745"/>
              <a:gd name="T101" fmla="*/ 362 h 689"/>
              <a:gd name="T102" fmla="*/ 533 w 745"/>
              <a:gd name="T103" fmla="*/ 158 h 689"/>
              <a:gd name="T104" fmla="*/ 455 w 745"/>
              <a:gd name="T105" fmla="*/ 251 h 689"/>
              <a:gd name="T106" fmla="*/ 610 w 745"/>
              <a:gd name="T107" fmla="*/ 219 h 689"/>
              <a:gd name="T108" fmla="*/ 671 w 745"/>
              <a:gd name="T109" fmla="*/ 219 h 68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745" h="689">
                <a:moveTo>
                  <a:pt x="745" y="76"/>
                </a:moveTo>
                <a:lnTo>
                  <a:pt x="745" y="50"/>
                </a:lnTo>
                <a:lnTo>
                  <a:pt x="307" y="50"/>
                </a:lnTo>
                <a:lnTo>
                  <a:pt x="307" y="76"/>
                </a:lnTo>
                <a:lnTo>
                  <a:pt x="318" y="76"/>
                </a:lnTo>
                <a:lnTo>
                  <a:pt x="318" y="227"/>
                </a:lnTo>
                <a:lnTo>
                  <a:pt x="346" y="227"/>
                </a:lnTo>
                <a:lnTo>
                  <a:pt x="346" y="76"/>
                </a:lnTo>
                <a:lnTo>
                  <a:pt x="706" y="76"/>
                </a:lnTo>
                <a:lnTo>
                  <a:pt x="706" y="377"/>
                </a:lnTo>
                <a:lnTo>
                  <a:pt x="346" y="377"/>
                </a:lnTo>
                <a:lnTo>
                  <a:pt x="346" y="307"/>
                </a:lnTo>
                <a:lnTo>
                  <a:pt x="318" y="307"/>
                </a:lnTo>
                <a:lnTo>
                  <a:pt x="318" y="378"/>
                </a:lnTo>
                <a:lnTo>
                  <a:pt x="307" y="378"/>
                </a:lnTo>
                <a:lnTo>
                  <a:pt x="307" y="404"/>
                </a:lnTo>
                <a:lnTo>
                  <a:pt x="745" y="404"/>
                </a:lnTo>
                <a:lnTo>
                  <a:pt x="745" y="378"/>
                </a:lnTo>
                <a:lnTo>
                  <a:pt x="733" y="378"/>
                </a:lnTo>
                <a:lnTo>
                  <a:pt x="733" y="76"/>
                </a:lnTo>
                <a:lnTo>
                  <a:pt x="745" y="76"/>
                </a:lnTo>
                <a:close/>
                <a:moveTo>
                  <a:pt x="398" y="241"/>
                </a:moveTo>
                <a:lnTo>
                  <a:pt x="402" y="247"/>
                </a:lnTo>
                <a:lnTo>
                  <a:pt x="405" y="254"/>
                </a:lnTo>
                <a:lnTo>
                  <a:pt x="511" y="166"/>
                </a:lnTo>
                <a:lnTo>
                  <a:pt x="509" y="162"/>
                </a:lnTo>
                <a:lnTo>
                  <a:pt x="398" y="241"/>
                </a:lnTo>
                <a:close/>
                <a:moveTo>
                  <a:pt x="396" y="266"/>
                </a:moveTo>
                <a:lnTo>
                  <a:pt x="395" y="262"/>
                </a:lnTo>
                <a:lnTo>
                  <a:pt x="394" y="257"/>
                </a:lnTo>
                <a:lnTo>
                  <a:pt x="392" y="253"/>
                </a:lnTo>
                <a:lnTo>
                  <a:pt x="389" y="248"/>
                </a:lnTo>
                <a:lnTo>
                  <a:pt x="379" y="241"/>
                </a:lnTo>
                <a:lnTo>
                  <a:pt x="367" y="238"/>
                </a:lnTo>
                <a:lnTo>
                  <a:pt x="288" y="238"/>
                </a:lnTo>
                <a:lnTo>
                  <a:pt x="245" y="168"/>
                </a:lnTo>
                <a:lnTo>
                  <a:pt x="238" y="159"/>
                </a:lnTo>
                <a:lnTo>
                  <a:pt x="231" y="152"/>
                </a:lnTo>
                <a:lnTo>
                  <a:pt x="224" y="149"/>
                </a:lnTo>
                <a:lnTo>
                  <a:pt x="218" y="147"/>
                </a:lnTo>
                <a:lnTo>
                  <a:pt x="216" y="145"/>
                </a:lnTo>
                <a:lnTo>
                  <a:pt x="200" y="141"/>
                </a:lnTo>
                <a:lnTo>
                  <a:pt x="185" y="135"/>
                </a:lnTo>
                <a:lnTo>
                  <a:pt x="175" y="128"/>
                </a:lnTo>
                <a:lnTo>
                  <a:pt x="173" y="151"/>
                </a:lnTo>
                <a:lnTo>
                  <a:pt x="170" y="172"/>
                </a:lnTo>
                <a:lnTo>
                  <a:pt x="166" y="190"/>
                </a:lnTo>
                <a:lnTo>
                  <a:pt x="163" y="205"/>
                </a:lnTo>
                <a:lnTo>
                  <a:pt x="159" y="216"/>
                </a:lnTo>
                <a:lnTo>
                  <a:pt x="157" y="224"/>
                </a:lnTo>
                <a:lnTo>
                  <a:pt x="156" y="227"/>
                </a:lnTo>
                <a:lnTo>
                  <a:pt x="156" y="211"/>
                </a:lnTo>
                <a:lnTo>
                  <a:pt x="154" y="196"/>
                </a:lnTo>
                <a:lnTo>
                  <a:pt x="150" y="183"/>
                </a:lnTo>
                <a:lnTo>
                  <a:pt x="148" y="172"/>
                </a:lnTo>
                <a:lnTo>
                  <a:pt x="146" y="166"/>
                </a:lnTo>
                <a:lnTo>
                  <a:pt x="145" y="162"/>
                </a:lnTo>
                <a:lnTo>
                  <a:pt x="155" y="150"/>
                </a:lnTo>
                <a:lnTo>
                  <a:pt x="139" y="134"/>
                </a:lnTo>
                <a:lnTo>
                  <a:pt x="138" y="134"/>
                </a:lnTo>
                <a:lnTo>
                  <a:pt x="121" y="150"/>
                </a:lnTo>
                <a:lnTo>
                  <a:pt x="132" y="162"/>
                </a:lnTo>
                <a:lnTo>
                  <a:pt x="131" y="166"/>
                </a:lnTo>
                <a:lnTo>
                  <a:pt x="129" y="172"/>
                </a:lnTo>
                <a:lnTo>
                  <a:pt x="127" y="183"/>
                </a:lnTo>
                <a:lnTo>
                  <a:pt x="123" y="196"/>
                </a:lnTo>
                <a:lnTo>
                  <a:pt x="121" y="211"/>
                </a:lnTo>
                <a:lnTo>
                  <a:pt x="120" y="227"/>
                </a:lnTo>
                <a:lnTo>
                  <a:pt x="120" y="224"/>
                </a:lnTo>
                <a:lnTo>
                  <a:pt x="118" y="216"/>
                </a:lnTo>
                <a:lnTo>
                  <a:pt x="114" y="205"/>
                </a:lnTo>
                <a:lnTo>
                  <a:pt x="110" y="190"/>
                </a:lnTo>
                <a:lnTo>
                  <a:pt x="106" y="172"/>
                </a:lnTo>
                <a:lnTo>
                  <a:pt x="103" y="151"/>
                </a:lnTo>
                <a:lnTo>
                  <a:pt x="102" y="128"/>
                </a:lnTo>
                <a:lnTo>
                  <a:pt x="94" y="134"/>
                </a:lnTo>
                <a:lnTo>
                  <a:pt x="85" y="139"/>
                </a:lnTo>
                <a:lnTo>
                  <a:pt x="74" y="142"/>
                </a:lnTo>
                <a:lnTo>
                  <a:pt x="61" y="145"/>
                </a:lnTo>
                <a:lnTo>
                  <a:pt x="49" y="150"/>
                </a:lnTo>
                <a:lnTo>
                  <a:pt x="38" y="154"/>
                </a:lnTo>
                <a:lnTo>
                  <a:pt x="26" y="161"/>
                </a:lnTo>
                <a:lnTo>
                  <a:pt x="19" y="170"/>
                </a:lnTo>
                <a:lnTo>
                  <a:pt x="13" y="183"/>
                </a:lnTo>
                <a:lnTo>
                  <a:pt x="11" y="197"/>
                </a:lnTo>
                <a:lnTo>
                  <a:pt x="0" y="414"/>
                </a:lnTo>
                <a:lnTo>
                  <a:pt x="3" y="425"/>
                </a:lnTo>
                <a:lnTo>
                  <a:pt x="10" y="434"/>
                </a:lnTo>
                <a:lnTo>
                  <a:pt x="19" y="441"/>
                </a:lnTo>
                <a:lnTo>
                  <a:pt x="30" y="443"/>
                </a:lnTo>
                <a:lnTo>
                  <a:pt x="41" y="441"/>
                </a:lnTo>
                <a:lnTo>
                  <a:pt x="51" y="434"/>
                </a:lnTo>
                <a:lnTo>
                  <a:pt x="57" y="425"/>
                </a:lnTo>
                <a:lnTo>
                  <a:pt x="59" y="414"/>
                </a:lnTo>
                <a:lnTo>
                  <a:pt x="59" y="249"/>
                </a:lnTo>
                <a:lnTo>
                  <a:pt x="65" y="249"/>
                </a:lnTo>
                <a:lnTo>
                  <a:pt x="65" y="418"/>
                </a:lnTo>
                <a:lnTo>
                  <a:pt x="65" y="418"/>
                </a:lnTo>
                <a:lnTo>
                  <a:pt x="65" y="655"/>
                </a:lnTo>
                <a:lnTo>
                  <a:pt x="68" y="668"/>
                </a:lnTo>
                <a:lnTo>
                  <a:pt x="75" y="679"/>
                </a:lnTo>
                <a:lnTo>
                  <a:pt x="86" y="687"/>
                </a:lnTo>
                <a:lnTo>
                  <a:pt x="99" y="689"/>
                </a:lnTo>
                <a:lnTo>
                  <a:pt x="112" y="687"/>
                </a:lnTo>
                <a:lnTo>
                  <a:pt x="123" y="679"/>
                </a:lnTo>
                <a:lnTo>
                  <a:pt x="130" y="668"/>
                </a:lnTo>
                <a:lnTo>
                  <a:pt x="134" y="655"/>
                </a:lnTo>
                <a:lnTo>
                  <a:pt x="134" y="418"/>
                </a:lnTo>
                <a:lnTo>
                  <a:pt x="144" y="418"/>
                </a:lnTo>
                <a:lnTo>
                  <a:pt x="144" y="655"/>
                </a:lnTo>
                <a:lnTo>
                  <a:pt x="146" y="668"/>
                </a:lnTo>
                <a:lnTo>
                  <a:pt x="154" y="679"/>
                </a:lnTo>
                <a:lnTo>
                  <a:pt x="164" y="687"/>
                </a:lnTo>
                <a:lnTo>
                  <a:pt x="178" y="689"/>
                </a:lnTo>
                <a:lnTo>
                  <a:pt x="191" y="687"/>
                </a:lnTo>
                <a:lnTo>
                  <a:pt x="202" y="679"/>
                </a:lnTo>
                <a:lnTo>
                  <a:pt x="209" y="668"/>
                </a:lnTo>
                <a:lnTo>
                  <a:pt x="211" y="655"/>
                </a:lnTo>
                <a:lnTo>
                  <a:pt x="211" y="418"/>
                </a:lnTo>
                <a:lnTo>
                  <a:pt x="212" y="418"/>
                </a:lnTo>
                <a:lnTo>
                  <a:pt x="212" y="223"/>
                </a:lnTo>
                <a:lnTo>
                  <a:pt x="247" y="282"/>
                </a:lnTo>
                <a:lnTo>
                  <a:pt x="254" y="289"/>
                </a:lnTo>
                <a:lnTo>
                  <a:pt x="262" y="293"/>
                </a:lnTo>
                <a:lnTo>
                  <a:pt x="272" y="295"/>
                </a:lnTo>
                <a:lnTo>
                  <a:pt x="367" y="295"/>
                </a:lnTo>
                <a:lnTo>
                  <a:pt x="378" y="293"/>
                </a:lnTo>
                <a:lnTo>
                  <a:pt x="387" y="286"/>
                </a:lnTo>
                <a:lnTo>
                  <a:pt x="394" y="277"/>
                </a:lnTo>
                <a:lnTo>
                  <a:pt x="396" y="266"/>
                </a:lnTo>
                <a:close/>
                <a:moveTo>
                  <a:pt x="138" y="113"/>
                </a:moveTo>
                <a:lnTo>
                  <a:pt x="156" y="109"/>
                </a:lnTo>
                <a:lnTo>
                  <a:pt x="172" y="101"/>
                </a:lnTo>
                <a:lnTo>
                  <a:pt x="184" y="90"/>
                </a:lnTo>
                <a:lnTo>
                  <a:pt x="192" y="74"/>
                </a:lnTo>
                <a:lnTo>
                  <a:pt x="194" y="56"/>
                </a:lnTo>
                <a:lnTo>
                  <a:pt x="192" y="38"/>
                </a:lnTo>
                <a:lnTo>
                  <a:pt x="184" y="24"/>
                </a:lnTo>
                <a:lnTo>
                  <a:pt x="172" y="11"/>
                </a:lnTo>
                <a:lnTo>
                  <a:pt x="156" y="3"/>
                </a:lnTo>
                <a:lnTo>
                  <a:pt x="138" y="0"/>
                </a:lnTo>
                <a:lnTo>
                  <a:pt x="121" y="3"/>
                </a:lnTo>
                <a:lnTo>
                  <a:pt x="105" y="11"/>
                </a:lnTo>
                <a:lnTo>
                  <a:pt x="93" y="24"/>
                </a:lnTo>
                <a:lnTo>
                  <a:pt x="85" y="38"/>
                </a:lnTo>
                <a:lnTo>
                  <a:pt x="83" y="56"/>
                </a:lnTo>
                <a:lnTo>
                  <a:pt x="85" y="74"/>
                </a:lnTo>
                <a:lnTo>
                  <a:pt x="93" y="90"/>
                </a:lnTo>
                <a:lnTo>
                  <a:pt x="105" y="101"/>
                </a:lnTo>
                <a:lnTo>
                  <a:pt x="121" y="109"/>
                </a:lnTo>
                <a:lnTo>
                  <a:pt x="138" y="113"/>
                </a:lnTo>
                <a:close/>
                <a:moveTo>
                  <a:pt x="533" y="158"/>
                </a:moveTo>
                <a:lnTo>
                  <a:pt x="533" y="362"/>
                </a:lnTo>
                <a:lnTo>
                  <a:pt x="594" y="362"/>
                </a:lnTo>
                <a:lnTo>
                  <a:pt x="594" y="158"/>
                </a:lnTo>
                <a:lnTo>
                  <a:pt x="533" y="158"/>
                </a:lnTo>
                <a:close/>
                <a:moveTo>
                  <a:pt x="516" y="362"/>
                </a:moveTo>
                <a:lnTo>
                  <a:pt x="516" y="251"/>
                </a:lnTo>
                <a:lnTo>
                  <a:pt x="455" y="251"/>
                </a:lnTo>
                <a:lnTo>
                  <a:pt x="455" y="362"/>
                </a:lnTo>
                <a:lnTo>
                  <a:pt x="516" y="362"/>
                </a:lnTo>
                <a:close/>
                <a:moveTo>
                  <a:pt x="610" y="219"/>
                </a:moveTo>
                <a:lnTo>
                  <a:pt x="610" y="362"/>
                </a:lnTo>
                <a:lnTo>
                  <a:pt x="671" y="362"/>
                </a:lnTo>
                <a:lnTo>
                  <a:pt x="671" y="219"/>
                </a:lnTo>
                <a:lnTo>
                  <a:pt x="610" y="219"/>
                </a:ln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89595" tIns="44797" rIns="89595" bIns="44797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20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96" name="Rectangle 25"/>
          <p:cNvSpPr txBox="1">
            <a:spLocks/>
          </p:cNvSpPr>
          <p:nvPr>
            <p:custDataLst>
              <p:tags r:id="rId19"/>
            </p:custDataLst>
          </p:nvPr>
        </p:nvSpPr>
        <p:spPr>
          <a:xfrm>
            <a:off x="10234645" y="1784647"/>
            <a:ext cx="1416005" cy="1193061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vert="horz" lIns="74643" tIns="74643" rIns="74643" bIns="74643" rtlCol="0" anchor="t" anchorCtr="0">
            <a:noAutofit/>
          </a:bodyPr>
          <a:lstStyle>
            <a:defPPr>
              <a:defRPr lang="en-US"/>
            </a:defPPr>
            <a:lvl1pPr lvl="0" indent="0" defTabSz="457063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Arial"/>
              <a:buNone/>
            </a:lvl1pPr>
            <a:lvl2pPr marL="0" lvl="1" indent="0" defTabSz="457063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FontTx/>
              <a:buNone/>
              <a:defRPr sz="1400" baseline="0">
                <a:solidFill>
                  <a:schemeClr val="tx2"/>
                </a:solidFill>
              </a:defRPr>
            </a:lvl2pPr>
            <a:lvl3pPr marL="228531" lvl="2" indent="-228531" defTabSz="457063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Font typeface="Lucida Grande"/>
              <a:buChar char="–"/>
              <a:defRPr sz="1400" baseline="0">
                <a:solidFill>
                  <a:schemeClr val="tx2"/>
                </a:solidFill>
              </a:defRPr>
            </a:lvl3pPr>
            <a:lvl4pPr marL="457063" lvl="3" indent="-231705" defTabSz="457063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Font typeface="Arial"/>
              <a:buChar char="•"/>
              <a:defRPr sz="1400">
                <a:solidFill>
                  <a:schemeClr val="tx2"/>
                </a:solidFill>
              </a:defRPr>
            </a:lvl4pPr>
            <a:lvl5pPr marL="685594" lvl="4" indent="-228531" defTabSz="457063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Font typeface="Lucida Grande"/>
              <a:buChar char="–"/>
              <a:defRPr sz="1400">
                <a:solidFill>
                  <a:schemeClr val="tx2"/>
                </a:solidFill>
              </a:defRPr>
            </a:lvl5pPr>
            <a:lvl6pPr marL="917300" lvl="5" indent="-228531" defTabSz="457063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Font typeface="Lucida Grande"/>
              <a:buChar char="»"/>
              <a:defRPr sz="1400" baseline="0">
                <a:solidFill>
                  <a:schemeClr val="tx2"/>
                </a:solidFill>
              </a:defRPr>
            </a:lvl6pPr>
            <a:lvl7pPr marL="1142657" lvl="6" indent="-225357" defTabSz="457063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Font typeface="Arial"/>
              <a:buChar char="•"/>
              <a:defRPr sz="1400">
                <a:solidFill>
                  <a:schemeClr val="tx2"/>
                </a:solidFill>
              </a:defRPr>
            </a:lvl7pPr>
            <a:lvl8pPr marL="3427971" indent="-228531" defTabSz="457063">
              <a:spcBef>
                <a:spcPct val="20000"/>
              </a:spcBef>
              <a:buFont typeface="Arial"/>
              <a:buChar char="•"/>
              <a:defRPr sz="1999"/>
            </a:lvl8pPr>
            <a:lvl9pPr marL="3885034" indent="-228531" defTabSz="457063">
              <a:spcBef>
                <a:spcPct val="20000"/>
              </a:spcBef>
              <a:buFont typeface="Arial"/>
              <a:buChar char="•"/>
              <a:defRPr sz="1999"/>
            </a:lvl9pPr>
          </a:lstStyle>
          <a:p>
            <a:pPr fontAlgn="auto">
              <a:buClr>
                <a:srgbClr val="000000"/>
              </a:buClr>
            </a:pPr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114" name="TextBox 113"/>
          <p:cNvSpPr txBox="1">
            <a:spLocks/>
          </p:cNvSpPr>
          <p:nvPr/>
        </p:nvSpPr>
        <p:spPr>
          <a:xfrm>
            <a:off x="10285419" y="1862224"/>
            <a:ext cx="1314457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lvl="0" indent="0" defTabSz="12178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 baseline="0"/>
            </a:lvl1pPr>
            <a:lvl2pPr marL="192024" lvl="1" indent="-192024" defTabSz="12178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Calibri" panose="020F0502020204030204" pitchFamily="34" charset="0"/>
              <a:buChar char="▪"/>
              <a:defRPr sz="1400" baseline="0"/>
            </a:lvl2pPr>
            <a:lvl3pPr marL="457200" lvl="2" indent="-265176" defTabSz="12178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 baseline="0"/>
            </a:lvl3pPr>
            <a:lvl4pPr marL="612648" lvl="3" indent="-155448" defTabSz="12178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Calibri" panose="020F0502020204030204" pitchFamily="34" charset="0"/>
              <a:buChar char="▫"/>
              <a:defRPr sz="1400" baseline="0"/>
            </a:lvl4pPr>
            <a:lvl5pPr marL="749808" lvl="4" indent="-128016" defTabSz="12178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/>
            </a:lvl5pPr>
            <a:lvl6pPr marL="1019860" indent="-177060" defTabSz="12178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00" baseline="0"/>
            </a:lvl6pPr>
            <a:lvl7pPr marL="1019860" indent="-177060" defTabSz="12178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00" baseline="0"/>
            </a:lvl7pPr>
            <a:lvl8pPr marL="1019860" indent="-177060" defTabSz="12178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00" baseline="0"/>
            </a:lvl8pPr>
            <a:lvl9pPr marL="1019860" indent="-177060" defTabSz="12178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00" baseline="0"/>
            </a:lvl9pPr>
          </a:lstStyle>
          <a:p>
            <a:pPr>
              <a:buClr>
                <a:srgbClr val="000000"/>
              </a:buClr>
            </a:pPr>
            <a:r>
              <a:rPr lang="en-US" sz="1200" b="1" dirty="0">
                <a:solidFill>
                  <a:srgbClr val="FFFFFF"/>
                </a:solidFill>
                <a:latin typeface="+mn-lt"/>
              </a:rPr>
              <a:t>Field </a:t>
            </a:r>
            <a:br>
              <a:rPr lang="en-US" sz="1200" b="1" dirty="0">
                <a:solidFill>
                  <a:srgbClr val="FFFFFF"/>
                </a:solidFill>
                <a:latin typeface="+mn-lt"/>
              </a:rPr>
            </a:br>
            <a:r>
              <a:rPr lang="en-US" sz="1200" b="1" dirty="0">
                <a:solidFill>
                  <a:srgbClr val="FFFFFF"/>
                </a:solidFill>
                <a:latin typeface="+mn-lt"/>
              </a:rPr>
              <a:t>Commitments </a:t>
            </a:r>
          </a:p>
        </p:txBody>
      </p:sp>
      <p:grpSp>
        <p:nvGrpSpPr>
          <p:cNvPr id="37" name="CustomIcon"/>
          <p:cNvGrpSpPr>
            <a:grpSpLocks noChangeAspect="1"/>
          </p:cNvGrpSpPr>
          <p:nvPr>
            <p:custDataLst>
              <p:tags r:id="rId20"/>
            </p:custDataLst>
          </p:nvPr>
        </p:nvGrpSpPr>
        <p:grpSpPr>
          <a:xfrm>
            <a:off x="10755992" y="2471324"/>
            <a:ext cx="373313" cy="364828"/>
            <a:chOff x="0" y="1588"/>
            <a:chExt cx="628651" cy="614363"/>
          </a:xfrm>
          <a:solidFill>
            <a:schemeClr val="bg1"/>
          </a:solidFill>
        </p:grpSpPr>
        <p:sp>
          <p:nvSpPr>
            <p:cNvPr id="30" name="Freeform 41"/>
            <p:cNvSpPr>
              <a:spLocks noEditPoints="1"/>
            </p:cNvSpPr>
            <p:nvPr/>
          </p:nvSpPr>
          <p:spPr bwMode="auto">
            <a:xfrm>
              <a:off x="14288" y="136525"/>
              <a:ext cx="193675" cy="360363"/>
            </a:xfrm>
            <a:custGeom>
              <a:avLst/>
              <a:gdLst>
                <a:gd name="T0" fmla="*/ 27 w 132"/>
                <a:gd name="T1" fmla="*/ 152 h 246"/>
                <a:gd name="T2" fmla="*/ 27 w 132"/>
                <a:gd name="T3" fmla="*/ 157 h 246"/>
                <a:gd name="T4" fmla="*/ 27 w 132"/>
                <a:gd name="T5" fmla="*/ 236 h 246"/>
                <a:gd name="T6" fmla="*/ 37 w 132"/>
                <a:gd name="T7" fmla="*/ 246 h 246"/>
                <a:gd name="T8" fmla="*/ 95 w 132"/>
                <a:gd name="T9" fmla="*/ 246 h 246"/>
                <a:gd name="T10" fmla="*/ 105 w 132"/>
                <a:gd name="T11" fmla="*/ 236 h 246"/>
                <a:gd name="T12" fmla="*/ 105 w 132"/>
                <a:gd name="T13" fmla="*/ 157 h 246"/>
                <a:gd name="T14" fmla="*/ 105 w 132"/>
                <a:gd name="T15" fmla="*/ 157 h 246"/>
                <a:gd name="T16" fmla="*/ 105 w 132"/>
                <a:gd name="T17" fmla="*/ 152 h 246"/>
                <a:gd name="T18" fmla="*/ 129 w 132"/>
                <a:gd name="T19" fmla="*/ 138 h 246"/>
                <a:gd name="T20" fmla="*/ 132 w 132"/>
                <a:gd name="T21" fmla="*/ 127 h 246"/>
                <a:gd name="T22" fmla="*/ 132 w 132"/>
                <a:gd name="T23" fmla="*/ 37 h 246"/>
                <a:gd name="T24" fmla="*/ 96 w 132"/>
                <a:gd name="T25" fmla="*/ 0 h 246"/>
                <a:gd name="T26" fmla="*/ 36 w 132"/>
                <a:gd name="T27" fmla="*/ 0 h 246"/>
                <a:gd name="T28" fmla="*/ 0 w 132"/>
                <a:gd name="T29" fmla="*/ 37 h 246"/>
                <a:gd name="T30" fmla="*/ 0 w 132"/>
                <a:gd name="T31" fmla="*/ 127 h 246"/>
                <a:gd name="T32" fmla="*/ 3 w 132"/>
                <a:gd name="T33" fmla="*/ 137 h 246"/>
                <a:gd name="T34" fmla="*/ 27 w 132"/>
                <a:gd name="T35" fmla="*/ 152 h 246"/>
                <a:gd name="T36" fmla="*/ 15 w 132"/>
                <a:gd name="T37" fmla="*/ 37 h 246"/>
                <a:gd name="T38" fmla="*/ 36 w 132"/>
                <a:gd name="T39" fmla="*/ 15 h 246"/>
                <a:gd name="T40" fmla="*/ 96 w 132"/>
                <a:gd name="T41" fmla="*/ 15 h 246"/>
                <a:gd name="T42" fmla="*/ 118 w 132"/>
                <a:gd name="T43" fmla="*/ 37 h 246"/>
                <a:gd name="T44" fmla="*/ 118 w 132"/>
                <a:gd name="T45" fmla="*/ 127 h 246"/>
                <a:gd name="T46" fmla="*/ 117 w 132"/>
                <a:gd name="T47" fmla="*/ 129 h 246"/>
                <a:gd name="T48" fmla="*/ 105 w 132"/>
                <a:gd name="T49" fmla="*/ 137 h 246"/>
                <a:gd name="T50" fmla="*/ 105 w 132"/>
                <a:gd name="T51" fmla="*/ 46 h 246"/>
                <a:gd name="T52" fmla="*/ 98 w 132"/>
                <a:gd name="T53" fmla="*/ 39 h 246"/>
                <a:gd name="T54" fmla="*/ 90 w 132"/>
                <a:gd name="T55" fmla="*/ 46 h 246"/>
                <a:gd name="T56" fmla="*/ 90 w 132"/>
                <a:gd name="T57" fmla="*/ 148 h 246"/>
                <a:gd name="T58" fmla="*/ 90 w 132"/>
                <a:gd name="T59" fmla="*/ 148 h 246"/>
                <a:gd name="T60" fmla="*/ 90 w 132"/>
                <a:gd name="T61" fmla="*/ 231 h 246"/>
                <a:gd name="T62" fmla="*/ 73 w 132"/>
                <a:gd name="T63" fmla="*/ 231 h 246"/>
                <a:gd name="T64" fmla="*/ 73 w 132"/>
                <a:gd name="T65" fmla="*/ 146 h 246"/>
                <a:gd name="T66" fmla="*/ 66 w 132"/>
                <a:gd name="T67" fmla="*/ 139 h 246"/>
                <a:gd name="T68" fmla="*/ 58 w 132"/>
                <a:gd name="T69" fmla="*/ 146 h 246"/>
                <a:gd name="T70" fmla="*/ 58 w 132"/>
                <a:gd name="T71" fmla="*/ 231 h 246"/>
                <a:gd name="T72" fmla="*/ 42 w 132"/>
                <a:gd name="T73" fmla="*/ 231 h 246"/>
                <a:gd name="T74" fmla="*/ 42 w 132"/>
                <a:gd name="T75" fmla="*/ 157 h 246"/>
                <a:gd name="T76" fmla="*/ 42 w 132"/>
                <a:gd name="T77" fmla="*/ 148 h 246"/>
                <a:gd name="T78" fmla="*/ 42 w 132"/>
                <a:gd name="T79" fmla="*/ 46 h 246"/>
                <a:gd name="T80" fmla="*/ 34 w 132"/>
                <a:gd name="T81" fmla="*/ 39 h 246"/>
                <a:gd name="T82" fmla="*/ 27 w 132"/>
                <a:gd name="T83" fmla="*/ 46 h 246"/>
                <a:gd name="T84" fmla="*/ 27 w 132"/>
                <a:gd name="T85" fmla="*/ 137 h 246"/>
                <a:gd name="T86" fmla="*/ 15 w 132"/>
                <a:gd name="T87" fmla="*/ 128 h 246"/>
                <a:gd name="T88" fmla="*/ 15 w 132"/>
                <a:gd name="T89" fmla="*/ 127 h 246"/>
                <a:gd name="T90" fmla="*/ 15 w 132"/>
                <a:gd name="T91" fmla="*/ 37 h 246"/>
                <a:gd name="T92" fmla="*/ 15 w 132"/>
                <a:gd name="T93" fmla="*/ 37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32" h="246">
                  <a:moveTo>
                    <a:pt x="27" y="152"/>
                  </a:moveTo>
                  <a:cubicBezTo>
                    <a:pt x="27" y="157"/>
                    <a:pt x="27" y="157"/>
                    <a:pt x="27" y="157"/>
                  </a:cubicBezTo>
                  <a:cubicBezTo>
                    <a:pt x="27" y="236"/>
                    <a:pt x="27" y="236"/>
                    <a:pt x="27" y="236"/>
                  </a:cubicBezTo>
                  <a:cubicBezTo>
                    <a:pt x="27" y="241"/>
                    <a:pt x="31" y="246"/>
                    <a:pt x="37" y="246"/>
                  </a:cubicBezTo>
                  <a:cubicBezTo>
                    <a:pt x="95" y="246"/>
                    <a:pt x="95" y="246"/>
                    <a:pt x="95" y="246"/>
                  </a:cubicBezTo>
                  <a:cubicBezTo>
                    <a:pt x="100" y="246"/>
                    <a:pt x="105" y="241"/>
                    <a:pt x="105" y="236"/>
                  </a:cubicBezTo>
                  <a:cubicBezTo>
                    <a:pt x="105" y="157"/>
                    <a:pt x="105" y="157"/>
                    <a:pt x="105" y="157"/>
                  </a:cubicBezTo>
                  <a:cubicBezTo>
                    <a:pt x="105" y="157"/>
                    <a:pt x="105" y="157"/>
                    <a:pt x="105" y="157"/>
                  </a:cubicBezTo>
                  <a:cubicBezTo>
                    <a:pt x="105" y="152"/>
                    <a:pt x="105" y="152"/>
                    <a:pt x="105" y="152"/>
                  </a:cubicBezTo>
                  <a:cubicBezTo>
                    <a:pt x="118" y="150"/>
                    <a:pt x="125" y="142"/>
                    <a:pt x="129" y="138"/>
                  </a:cubicBezTo>
                  <a:cubicBezTo>
                    <a:pt x="131" y="134"/>
                    <a:pt x="132" y="131"/>
                    <a:pt x="132" y="127"/>
                  </a:cubicBezTo>
                  <a:cubicBezTo>
                    <a:pt x="132" y="37"/>
                    <a:pt x="132" y="37"/>
                    <a:pt x="132" y="37"/>
                  </a:cubicBezTo>
                  <a:cubicBezTo>
                    <a:pt x="132" y="17"/>
                    <a:pt x="116" y="0"/>
                    <a:pt x="96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16" y="0"/>
                    <a:pt x="0" y="17"/>
                    <a:pt x="0" y="37"/>
                  </a:cubicBezTo>
                  <a:cubicBezTo>
                    <a:pt x="0" y="127"/>
                    <a:pt x="0" y="127"/>
                    <a:pt x="0" y="127"/>
                  </a:cubicBezTo>
                  <a:cubicBezTo>
                    <a:pt x="0" y="131"/>
                    <a:pt x="1" y="134"/>
                    <a:pt x="3" y="137"/>
                  </a:cubicBezTo>
                  <a:cubicBezTo>
                    <a:pt x="7" y="142"/>
                    <a:pt x="14" y="150"/>
                    <a:pt x="27" y="152"/>
                  </a:cubicBezTo>
                  <a:close/>
                  <a:moveTo>
                    <a:pt x="15" y="37"/>
                  </a:moveTo>
                  <a:cubicBezTo>
                    <a:pt x="15" y="25"/>
                    <a:pt x="24" y="15"/>
                    <a:pt x="36" y="15"/>
                  </a:cubicBezTo>
                  <a:cubicBezTo>
                    <a:pt x="96" y="15"/>
                    <a:pt x="96" y="15"/>
                    <a:pt x="96" y="15"/>
                  </a:cubicBezTo>
                  <a:cubicBezTo>
                    <a:pt x="107" y="15"/>
                    <a:pt x="118" y="25"/>
                    <a:pt x="118" y="37"/>
                  </a:cubicBezTo>
                  <a:cubicBezTo>
                    <a:pt x="118" y="127"/>
                    <a:pt x="118" y="127"/>
                    <a:pt x="118" y="127"/>
                  </a:cubicBezTo>
                  <a:cubicBezTo>
                    <a:pt x="118" y="127"/>
                    <a:pt x="117" y="128"/>
                    <a:pt x="117" y="129"/>
                  </a:cubicBezTo>
                  <a:cubicBezTo>
                    <a:pt x="114" y="132"/>
                    <a:pt x="111" y="135"/>
                    <a:pt x="105" y="137"/>
                  </a:cubicBezTo>
                  <a:cubicBezTo>
                    <a:pt x="105" y="46"/>
                    <a:pt x="105" y="46"/>
                    <a:pt x="105" y="46"/>
                  </a:cubicBezTo>
                  <a:cubicBezTo>
                    <a:pt x="105" y="42"/>
                    <a:pt x="102" y="39"/>
                    <a:pt x="98" y="39"/>
                  </a:cubicBezTo>
                  <a:cubicBezTo>
                    <a:pt x="93" y="39"/>
                    <a:pt x="90" y="42"/>
                    <a:pt x="90" y="46"/>
                  </a:cubicBezTo>
                  <a:cubicBezTo>
                    <a:pt x="90" y="148"/>
                    <a:pt x="90" y="148"/>
                    <a:pt x="90" y="148"/>
                  </a:cubicBezTo>
                  <a:cubicBezTo>
                    <a:pt x="90" y="148"/>
                    <a:pt x="90" y="148"/>
                    <a:pt x="90" y="148"/>
                  </a:cubicBezTo>
                  <a:cubicBezTo>
                    <a:pt x="90" y="231"/>
                    <a:pt x="90" y="231"/>
                    <a:pt x="90" y="231"/>
                  </a:cubicBezTo>
                  <a:cubicBezTo>
                    <a:pt x="73" y="231"/>
                    <a:pt x="73" y="231"/>
                    <a:pt x="73" y="231"/>
                  </a:cubicBezTo>
                  <a:cubicBezTo>
                    <a:pt x="73" y="146"/>
                    <a:pt x="73" y="146"/>
                    <a:pt x="73" y="146"/>
                  </a:cubicBezTo>
                  <a:cubicBezTo>
                    <a:pt x="73" y="142"/>
                    <a:pt x="70" y="139"/>
                    <a:pt x="66" y="139"/>
                  </a:cubicBezTo>
                  <a:cubicBezTo>
                    <a:pt x="62" y="139"/>
                    <a:pt x="58" y="142"/>
                    <a:pt x="58" y="146"/>
                  </a:cubicBezTo>
                  <a:cubicBezTo>
                    <a:pt x="58" y="231"/>
                    <a:pt x="58" y="231"/>
                    <a:pt x="58" y="231"/>
                  </a:cubicBezTo>
                  <a:cubicBezTo>
                    <a:pt x="42" y="231"/>
                    <a:pt x="42" y="231"/>
                    <a:pt x="42" y="231"/>
                  </a:cubicBezTo>
                  <a:cubicBezTo>
                    <a:pt x="42" y="157"/>
                    <a:pt x="42" y="157"/>
                    <a:pt x="42" y="157"/>
                  </a:cubicBezTo>
                  <a:cubicBezTo>
                    <a:pt x="42" y="148"/>
                    <a:pt x="42" y="148"/>
                    <a:pt x="42" y="148"/>
                  </a:cubicBezTo>
                  <a:cubicBezTo>
                    <a:pt x="42" y="46"/>
                    <a:pt x="42" y="46"/>
                    <a:pt x="42" y="46"/>
                  </a:cubicBezTo>
                  <a:cubicBezTo>
                    <a:pt x="42" y="42"/>
                    <a:pt x="38" y="39"/>
                    <a:pt x="34" y="39"/>
                  </a:cubicBezTo>
                  <a:cubicBezTo>
                    <a:pt x="30" y="39"/>
                    <a:pt x="27" y="42"/>
                    <a:pt x="27" y="46"/>
                  </a:cubicBezTo>
                  <a:cubicBezTo>
                    <a:pt x="27" y="137"/>
                    <a:pt x="27" y="137"/>
                    <a:pt x="27" y="137"/>
                  </a:cubicBezTo>
                  <a:cubicBezTo>
                    <a:pt x="21" y="135"/>
                    <a:pt x="17" y="131"/>
                    <a:pt x="15" y="128"/>
                  </a:cubicBezTo>
                  <a:cubicBezTo>
                    <a:pt x="15" y="128"/>
                    <a:pt x="15" y="127"/>
                    <a:pt x="15" y="127"/>
                  </a:cubicBezTo>
                  <a:cubicBezTo>
                    <a:pt x="15" y="37"/>
                    <a:pt x="15" y="37"/>
                    <a:pt x="15" y="37"/>
                  </a:cubicBezTo>
                  <a:cubicBezTo>
                    <a:pt x="15" y="37"/>
                    <a:pt x="15" y="37"/>
                    <a:pt x="15" y="3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0" cap="flat" cmpd="sng" algn="ctr">
                  <a:solidFill>
                    <a:srgbClr val="FFFFFF">
                      <a:alpha val="0"/>
                    </a:srgbClr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vert="horz" wrap="square" lIns="89595" tIns="44797" rIns="89595" bIns="44797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solidFill>
                  <a:srgbClr val="000000"/>
                </a:solidFill>
                <a:latin typeface="+mn-lt"/>
              </a:endParaRPr>
            </a:p>
          </p:txBody>
        </p:sp>
        <p:sp>
          <p:nvSpPr>
            <p:cNvPr id="31" name="Freeform 42"/>
            <p:cNvSpPr>
              <a:spLocks noEditPoints="1"/>
            </p:cNvSpPr>
            <p:nvPr/>
          </p:nvSpPr>
          <p:spPr bwMode="auto">
            <a:xfrm>
              <a:off x="57150" y="26988"/>
              <a:ext cx="107950" cy="109538"/>
            </a:xfrm>
            <a:custGeom>
              <a:avLst/>
              <a:gdLst>
                <a:gd name="T0" fmla="*/ 37 w 74"/>
                <a:gd name="T1" fmla="*/ 74 h 74"/>
                <a:gd name="T2" fmla="*/ 74 w 74"/>
                <a:gd name="T3" fmla="*/ 38 h 74"/>
                <a:gd name="T4" fmla="*/ 37 w 74"/>
                <a:gd name="T5" fmla="*/ 0 h 74"/>
                <a:gd name="T6" fmla="*/ 0 w 74"/>
                <a:gd name="T7" fmla="*/ 38 h 74"/>
                <a:gd name="T8" fmla="*/ 37 w 74"/>
                <a:gd name="T9" fmla="*/ 74 h 74"/>
                <a:gd name="T10" fmla="*/ 37 w 74"/>
                <a:gd name="T11" fmla="*/ 14 h 74"/>
                <a:gd name="T12" fmla="*/ 60 w 74"/>
                <a:gd name="T13" fmla="*/ 38 h 74"/>
                <a:gd name="T14" fmla="*/ 37 w 74"/>
                <a:gd name="T15" fmla="*/ 60 h 74"/>
                <a:gd name="T16" fmla="*/ 14 w 74"/>
                <a:gd name="T17" fmla="*/ 38 h 74"/>
                <a:gd name="T18" fmla="*/ 37 w 74"/>
                <a:gd name="T19" fmla="*/ 14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4" h="74">
                  <a:moveTo>
                    <a:pt x="37" y="74"/>
                  </a:moveTo>
                  <a:cubicBezTo>
                    <a:pt x="58" y="74"/>
                    <a:pt x="74" y="58"/>
                    <a:pt x="74" y="38"/>
                  </a:cubicBezTo>
                  <a:cubicBezTo>
                    <a:pt x="74" y="17"/>
                    <a:pt x="58" y="0"/>
                    <a:pt x="37" y="0"/>
                  </a:cubicBezTo>
                  <a:cubicBezTo>
                    <a:pt x="16" y="0"/>
                    <a:pt x="0" y="17"/>
                    <a:pt x="0" y="38"/>
                  </a:cubicBezTo>
                  <a:cubicBezTo>
                    <a:pt x="0" y="58"/>
                    <a:pt x="16" y="74"/>
                    <a:pt x="37" y="74"/>
                  </a:cubicBezTo>
                  <a:close/>
                  <a:moveTo>
                    <a:pt x="37" y="14"/>
                  </a:moveTo>
                  <a:cubicBezTo>
                    <a:pt x="50" y="14"/>
                    <a:pt x="60" y="25"/>
                    <a:pt x="60" y="38"/>
                  </a:cubicBezTo>
                  <a:cubicBezTo>
                    <a:pt x="60" y="50"/>
                    <a:pt x="50" y="60"/>
                    <a:pt x="37" y="60"/>
                  </a:cubicBezTo>
                  <a:cubicBezTo>
                    <a:pt x="24" y="60"/>
                    <a:pt x="14" y="50"/>
                    <a:pt x="14" y="38"/>
                  </a:cubicBezTo>
                  <a:cubicBezTo>
                    <a:pt x="14" y="25"/>
                    <a:pt x="24" y="14"/>
                    <a:pt x="37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0" cap="flat" cmpd="sng" algn="ctr">
                  <a:solidFill>
                    <a:srgbClr val="FFFFFF">
                      <a:alpha val="0"/>
                    </a:srgbClr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vert="horz" wrap="square" lIns="89595" tIns="44797" rIns="89595" bIns="44797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solidFill>
                  <a:srgbClr val="000000"/>
                </a:solidFill>
                <a:latin typeface="+mn-lt"/>
              </a:endParaRPr>
            </a:p>
          </p:txBody>
        </p:sp>
        <p:sp>
          <p:nvSpPr>
            <p:cNvPr id="32" name="Freeform 43"/>
            <p:cNvSpPr>
              <a:spLocks noEditPoints="1"/>
            </p:cNvSpPr>
            <p:nvPr/>
          </p:nvSpPr>
          <p:spPr bwMode="auto">
            <a:xfrm>
              <a:off x="217488" y="111125"/>
              <a:ext cx="195263" cy="358775"/>
            </a:xfrm>
            <a:custGeom>
              <a:avLst/>
              <a:gdLst>
                <a:gd name="T0" fmla="*/ 28 w 133"/>
                <a:gd name="T1" fmla="*/ 152 h 246"/>
                <a:gd name="T2" fmla="*/ 28 w 133"/>
                <a:gd name="T3" fmla="*/ 157 h 246"/>
                <a:gd name="T4" fmla="*/ 28 w 133"/>
                <a:gd name="T5" fmla="*/ 236 h 246"/>
                <a:gd name="T6" fmla="*/ 38 w 133"/>
                <a:gd name="T7" fmla="*/ 246 h 246"/>
                <a:gd name="T8" fmla="*/ 96 w 133"/>
                <a:gd name="T9" fmla="*/ 246 h 246"/>
                <a:gd name="T10" fmla="*/ 106 w 133"/>
                <a:gd name="T11" fmla="*/ 236 h 246"/>
                <a:gd name="T12" fmla="*/ 106 w 133"/>
                <a:gd name="T13" fmla="*/ 157 h 246"/>
                <a:gd name="T14" fmla="*/ 106 w 133"/>
                <a:gd name="T15" fmla="*/ 157 h 246"/>
                <a:gd name="T16" fmla="*/ 106 w 133"/>
                <a:gd name="T17" fmla="*/ 152 h 246"/>
                <a:gd name="T18" fmla="*/ 129 w 133"/>
                <a:gd name="T19" fmla="*/ 138 h 246"/>
                <a:gd name="T20" fmla="*/ 133 w 133"/>
                <a:gd name="T21" fmla="*/ 127 h 246"/>
                <a:gd name="T22" fmla="*/ 133 w 133"/>
                <a:gd name="T23" fmla="*/ 37 h 246"/>
                <a:gd name="T24" fmla="*/ 96 w 133"/>
                <a:gd name="T25" fmla="*/ 0 h 246"/>
                <a:gd name="T26" fmla="*/ 37 w 133"/>
                <a:gd name="T27" fmla="*/ 0 h 246"/>
                <a:gd name="T28" fmla="*/ 0 w 133"/>
                <a:gd name="T29" fmla="*/ 37 h 246"/>
                <a:gd name="T30" fmla="*/ 0 w 133"/>
                <a:gd name="T31" fmla="*/ 127 h 246"/>
                <a:gd name="T32" fmla="*/ 4 w 133"/>
                <a:gd name="T33" fmla="*/ 137 h 246"/>
                <a:gd name="T34" fmla="*/ 28 w 133"/>
                <a:gd name="T35" fmla="*/ 152 h 246"/>
                <a:gd name="T36" fmla="*/ 16 w 133"/>
                <a:gd name="T37" fmla="*/ 37 h 246"/>
                <a:gd name="T38" fmla="*/ 37 w 133"/>
                <a:gd name="T39" fmla="*/ 15 h 246"/>
                <a:gd name="T40" fmla="*/ 96 w 133"/>
                <a:gd name="T41" fmla="*/ 15 h 246"/>
                <a:gd name="T42" fmla="*/ 119 w 133"/>
                <a:gd name="T43" fmla="*/ 37 h 246"/>
                <a:gd name="T44" fmla="*/ 119 w 133"/>
                <a:gd name="T45" fmla="*/ 127 h 246"/>
                <a:gd name="T46" fmla="*/ 117 w 133"/>
                <a:gd name="T47" fmla="*/ 129 h 246"/>
                <a:gd name="T48" fmla="*/ 106 w 133"/>
                <a:gd name="T49" fmla="*/ 137 h 246"/>
                <a:gd name="T50" fmla="*/ 106 w 133"/>
                <a:gd name="T51" fmla="*/ 46 h 246"/>
                <a:gd name="T52" fmla="*/ 99 w 133"/>
                <a:gd name="T53" fmla="*/ 39 h 246"/>
                <a:gd name="T54" fmla="*/ 91 w 133"/>
                <a:gd name="T55" fmla="*/ 46 h 246"/>
                <a:gd name="T56" fmla="*/ 91 w 133"/>
                <a:gd name="T57" fmla="*/ 148 h 246"/>
                <a:gd name="T58" fmla="*/ 91 w 133"/>
                <a:gd name="T59" fmla="*/ 148 h 246"/>
                <a:gd name="T60" fmla="*/ 91 w 133"/>
                <a:gd name="T61" fmla="*/ 231 h 246"/>
                <a:gd name="T62" fmla="*/ 74 w 133"/>
                <a:gd name="T63" fmla="*/ 231 h 246"/>
                <a:gd name="T64" fmla="*/ 74 w 133"/>
                <a:gd name="T65" fmla="*/ 146 h 246"/>
                <a:gd name="T66" fmla="*/ 67 w 133"/>
                <a:gd name="T67" fmla="*/ 139 h 246"/>
                <a:gd name="T68" fmla="*/ 59 w 133"/>
                <a:gd name="T69" fmla="*/ 146 h 246"/>
                <a:gd name="T70" fmla="*/ 59 w 133"/>
                <a:gd name="T71" fmla="*/ 231 h 246"/>
                <a:gd name="T72" fmla="*/ 42 w 133"/>
                <a:gd name="T73" fmla="*/ 231 h 246"/>
                <a:gd name="T74" fmla="*/ 42 w 133"/>
                <a:gd name="T75" fmla="*/ 157 h 246"/>
                <a:gd name="T76" fmla="*/ 42 w 133"/>
                <a:gd name="T77" fmla="*/ 148 h 246"/>
                <a:gd name="T78" fmla="*/ 42 w 133"/>
                <a:gd name="T79" fmla="*/ 46 h 246"/>
                <a:gd name="T80" fmla="*/ 35 w 133"/>
                <a:gd name="T81" fmla="*/ 39 h 246"/>
                <a:gd name="T82" fmla="*/ 28 w 133"/>
                <a:gd name="T83" fmla="*/ 46 h 246"/>
                <a:gd name="T84" fmla="*/ 28 w 133"/>
                <a:gd name="T85" fmla="*/ 137 h 246"/>
                <a:gd name="T86" fmla="*/ 16 w 133"/>
                <a:gd name="T87" fmla="*/ 128 h 246"/>
                <a:gd name="T88" fmla="*/ 16 w 133"/>
                <a:gd name="T89" fmla="*/ 127 h 246"/>
                <a:gd name="T90" fmla="*/ 16 w 133"/>
                <a:gd name="T91" fmla="*/ 37 h 246"/>
                <a:gd name="T92" fmla="*/ 16 w 133"/>
                <a:gd name="T93" fmla="*/ 37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33" h="246">
                  <a:moveTo>
                    <a:pt x="28" y="152"/>
                  </a:moveTo>
                  <a:cubicBezTo>
                    <a:pt x="28" y="157"/>
                    <a:pt x="28" y="157"/>
                    <a:pt x="28" y="157"/>
                  </a:cubicBezTo>
                  <a:cubicBezTo>
                    <a:pt x="28" y="236"/>
                    <a:pt x="28" y="236"/>
                    <a:pt x="28" y="236"/>
                  </a:cubicBezTo>
                  <a:cubicBezTo>
                    <a:pt x="28" y="242"/>
                    <a:pt x="32" y="246"/>
                    <a:pt x="38" y="246"/>
                  </a:cubicBezTo>
                  <a:cubicBezTo>
                    <a:pt x="96" y="246"/>
                    <a:pt x="96" y="246"/>
                    <a:pt x="96" y="246"/>
                  </a:cubicBezTo>
                  <a:cubicBezTo>
                    <a:pt x="101" y="246"/>
                    <a:pt x="106" y="242"/>
                    <a:pt x="106" y="236"/>
                  </a:cubicBezTo>
                  <a:cubicBezTo>
                    <a:pt x="106" y="157"/>
                    <a:pt x="106" y="157"/>
                    <a:pt x="106" y="157"/>
                  </a:cubicBezTo>
                  <a:cubicBezTo>
                    <a:pt x="106" y="157"/>
                    <a:pt x="106" y="157"/>
                    <a:pt x="106" y="157"/>
                  </a:cubicBezTo>
                  <a:cubicBezTo>
                    <a:pt x="106" y="152"/>
                    <a:pt x="106" y="152"/>
                    <a:pt x="106" y="152"/>
                  </a:cubicBezTo>
                  <a:cubicBezTo>
                    <a:pt x="119" y="150"/>
                    <a:pt x="126" y="142"/>
                    <a:pt x="129" y="138"/>
                  </a:cubicBezTo>
                  <a:cubicBezTo>
                    <a:pt x="132" y="134"/>
                    <a:pt x="133" y="131"/>
                    <a:pt x="133" y="127"/>
                  </a:cubicBezTo>
                  <a:cubicBezTo>
                    <a:pt x="133" y="37"/>
                    <a:pt x="133" y="37"/>
                    <a:pt x="133" y="37"/>
                  </a:cubicBezTo>
                  <a:cubicBezTo>
                    <a:pt x="133" y="17"/>
                    <a:pt x="116" y="0"/>
                    <a:pt x="96" y="0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17" y="0"/>
                    <a:pt x="0" y="17"/>
                    <a:pt x="0" y="37"/>
                  </a:cubicBezTo>
                  <a:cubicBezTo>
                    <a:pt x="0" y="127"/>
                    <a:pt x="0" y="127"/>
                    <a:pt x="0" y="127"/>
                  </a:cubicBezTo>
                  <a:cubicBezTo>
                    <a:pt x="0" y="131"/>
                    <a:pt x="1" y="134"/>
                    <a:pt x="4" y="137"/>
                  </a:cubicBezTo>
                  <a:cubicBezTo>
                    <a:pt x="7" y="142"/>
                    <a:pt x="15" y="150"/>
                    <a:pt x="28" y="152"/>
                  </a:cubicBezTo>
                  <a:close/>
                  <a:moveTo>
                    <a:pt x="16" y="37"/>
                  </a:moveTo>
                  <a:cubicBezTo>
                    <a:pt x="16" y="25"/>
                    <a:pt x="25" y="15"/>
                    <a:pt x="37" y="15"/>
                  </a:cubicBezTo>
                  <a:cubicBezTo>
                    <a:pt x="96" y="15"/>
                    <a:pt x="96" y="15"/>
                    <a:pt x="96" y="15"/>
                  </a:cubicBezTo>
                  <a:cubicBezTo>
                    <a:pt x="108" y="15"/>
                    <a:pt x="119" y="25"/>
                    <a:pt x="119" y="37"/>
                  </a:cubicBezTo>
                  <a:cubicBezTo>
                    <a:pt x="119" y="127"/>
                    <a:pt x="119" y="127"/>
                    <a:pt x="119" y="127"/>
                  </a:cubicBezTo>
                  <a:cubicBezTo>
                    <a:pt x="119" y="127"/>
                    <a:pt x="118" y="128"/>
                    <a:pt x="117" y="129"/>
                  </a:cubicBezTo>
                  <a:cubicBezTo>
                    <a:pt x="115" y="132"/>
                    <a:pt x="112" y="135"/>
                    <a:pt x="106" y="137"/>
                  </a:cubicBezTo>
                  <a:cubicBezTo>
                    <a:pt x="106" y="46"/>
                    <a:pt x="106" y="46"/>
                    <a:pt x="106" y="46"/>
                  </a:cubicBezTo>
                  <a:cubicBezTo>
                    <a:pt x="106" y="42"/>
                    <a:pt x="102" y="39"/>
                    <a:pt x="99" y="39"/>
                  </a:cubicBezTo>
                  <a:cubicBezTo>
                    <a:pt x="94" y="39"/>
                    <a:pt x="91" y="42"/>
                    <a:pt x="91" y="46"/>
                  </a:cubicBezTo>
                  <a:cubicBezTo>
                    <a:pt x="91" y="148"/>
                    <a:pt x="91" y="148"/>
                    <a:pt x="91" y="148"/>
                  </a:cubicBezTo>
                  <a:cubicBezTo>
                    <a:pt x="91" y="148"/>
                    <a:pt x="91" y="148"/>
                    <a:pt x="91" y="148"/>
                  </a:cubicBezTo>
                  <a:cubicBezTo>
                    <a:pt x="91" y="231"/>
                    <a:pt x="91" y="231"/>
                    <a:pt x="91" y="231"/>
                  </a:cubicBezTo>
                  <a:cubicBezTo>
                    <a:pt x="74" y="231"/>
                    <a:pt x="74" y="231"/>
                    <a:pt x="74" y="231"/>
                  </a:cubicBezTo>
                  <a:cubicBezTo>
                    <a:pt x="74" y="146"/>
                    <a:pt x="74" y="146"/>
                    <a:pt x="74" y="146"/>
                  </a:cubicBezTo>
                  <a:cubicBezTo>
                    <a:pt x="74" y="142"/>
                    <a:pt x="71" y="139"/>
                    <a:pt x="67" y="139"/>
                  </a:cubicBezTo>
                  <a:cubicBezTo>
                    <a:pt x="62" y="139"/>
                    <a:pt x="59" y="142"/>
                    <a:pt x="59" y="146"/>
                  </a:cubicBezTo>
                  <a:cubicBezTo>
                    <a:pt x="59" y="231"/>
                    <a:pt x="59" y="231"/>
                    <a:pt x="59" y="231"/>
                  </a:cubicBezTo>
                  <a:cubicBezTo>
                    <a:pt x="42" y="231"/>
                    <a:pt x="42" y="231"/>
                    <a:pt x="42" y="231"/>
                  </a:cubicBezTo>
                  <a:cubicBezTo>
                    <a:pt x="42" y="157"/>
                    <a:pt x="42" y="157"/>
                    <a:pt x="42" y="157"/>
                  </a:cubicBezTo>
                  <a:cubicBezTo>
                    <a:pt x="42" y="148"/>
                    <a:pt x="42" y="148"/>
                    <a:pt x="42" y="148"/>
                  </a:cubicBezTo>
                  <a:cubicBezTo>
                    <a:pt x="42" y="46"/>
                    <a:pt x="42" y="46"/>
                    <a:pt x="42" y="46"/>
                  </a:cubicBezTo>
                  <a:cubicBezTo>
                    <a:pt x="42" y="42"/>
                    <a:pt x="39" y="39"/>
                    <a:pt x="35" y="39"/>
                  </a:cubicBezTo>
                  <a:cubicBezTo>
                    <a:pt x="31" y="39"/>
                    <a:pt x="28" y="42"/>
                    <a:pt x="28" y="46"/>
                  </a:cubicBezTo>
                  <a:cubicBezTo>
                    <a:pt x="28" y="137"/>
                    <a:pt x="28" y="137"/>
                    <a:pt x="28" y="137"/>
                  </a:cubicBezTo>
                  <a:cubicBezTo>
                    <a:pt x="21" y="135"/>
                    <a:pt x="18" y="131"/>
                    <a:pt x="16" y="128"/>
                  </a:cubicBezTo>
                  <a:cubicBezTo>
                    <a:pt x="16" y="128"/>
                    <a:pt x="16" y="127"/>
                    <a:pt x="16" y="127"/>
                  </a:cubicBezTo>
                  <a:cubicBezTo>
                    <a:pt x="16" y="37"/>
                    <a:pt x="16" y="37"/>
                    <a:pt x="16" y="37"/>
                  </a:cubicBezTo>
                  <a:cubicBezTo>
                    <a:pt x="16" y="37"/>
                    <a:pt x="16" y="37"/>
                    <a:pt x="16" y="3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0" cap="flat" cmpd="sng" algn="ctr">
                  <a:solidFill>
                    <a:srgbClr val="FFFFFF">
                      <a:alpha val="0"/>
                    </a:srgbClr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vert="horz" wrap="square" lIns="89595" tIns="44797" rIns="89595" bIns="44797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solidFill>
                  <a:srgbClr val="000000"/>
                </a:solidFill>
                <a:latin typeface="+mn-lt"/>
              </a:endParaRPr>
            </a:p>
          </p:txBody>
        </p:sp>
        <p:sp>
          <p:nvSpPr>
            <p:cNvPr id="33" name="Freeform 44"/>
            <p:cNvSpPr>
              <a:spLocks noEditPoints="1"/>
            </p:cNvSpPr>
            <p:nvPr/>
          </p:nvSpPr>
          <p:spPr bwMode="auto">
            <a:xfrm>
              <a:off x="261938" y="1588"/>
              <a:ext cx="107950" cy="107950"/>
            </a:xfrm>
            <a:custGeom>
              <a:avLst/>
              <a:gdLst>
                <a:gd name="T0" fmla="*/ 37 w 74"/>
                <a:gd name="T1" fmla="*/ 74 h 74"/>
                <a:gd name="T2" fmla="*/ 74 w 74"/>
                <a:gd name="T3" fmla="*/ 37 h 74"/>
                <a:gd name="T4" fmla="*/ 37 w 74"/>
                <a:gd name="T5" fmla="*/ 0 h 74"/>
                <a:gd name="T6" fmla="*/ 0 w 74"/>
                <a:gd name="T7" fmla="*/ 37 h 74"/>
                <a:gd name="T8" fmla="*/ 37 w 74"/>
                <a:gd name="T9" fmla="*/ 74 h 74"/>
                <a:gd name="T10" fmla="*/ 37 w 74"/>
                <a:gd name="T11" fmla="*/ 14 h 74"/>
                <a:gd name="T12" fmla="*/ 60 w 74"/>
                <a:gd name="T13" fmla="*/ 37 h 74"/>
                <a:gd name="T14" fmla="*/ 37 w 74"/>
                <a:gd name="T15" fmla="*/ 60 h 74"/>
                <a:gd name="T16" fmla="*/ 14 w 74"/>
                <a:gd name="T17" fmla="*/ 37 h 74"/>
                <a:gd name="T18" fmla="*/ 37 w 74"/>
                <a:gd name="T19" fmla="*/ 14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4" h="74">
                  <a:moveTo>
                    <a:pt x="37" y="74"/>
                  </a:moveTo>
                  <a:cubicBezTo>
                    <a:pt x="57" y="74"/>
                    <a:pt x="74" y="57"/>
                    <a:pt x="74" y="37"/>
                  </a:cubicBezTo>
                  <a:cubicBezTo>
                    <a:pt x="74" y="17"/>
                    <a:pt x="57" y="0"/>
                    <a:pt x="37" y="0"/>
                  </a:cubicBezTo>
                  <a:cubicBezTo>
                    <a:pt x="17" y="0"/>
                    <a:pt x="0" y="17"/>
                    <a:pt x="0" y="37"/>
                  </a:cubicBezTo>
                  <a:cubicBezTo>
                    <a:pt x="0" y="57"/>
                    <a:pt x="17" y="74"/>
                    <a:pt x="37" y="74"/>
                  </a:cubicBezTo>
                  <a:close/>
                  <a:moveTo>
                    <a:pt x="37" y="14"/>
                  </a:moveTo>
                  <a:cubicBezTo>
                    <a:pt x="50" y="14"/>
                    <a:pt x="60" y="24"/>
                    <a:pt x="60" y="37"/>
                  </a:cubicBezTo>
                  <a:cubicBezTo>
                    <a:pt x="60" y="50"/>
                    <a:pt x="50" y="60"/>
                    <a:pt x="37" y="60"/>
                  </a:cubicBezTo>
                  <a:cubicBezTo>
                    <a:pt x="25" y="60"/>
                    <a:pt x="14" y="50"/>
                    <a:pt x="14" y="37"/>
                  </a:cubicBezTo>
                  <a:cubicBezTo>
                    <a:pt x="14" y="24"/>
                    <a:pt x="25" y="14"/>
                    <a:pt x="37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0" cap="flat" cmpd="sng" algn="ctr">
                  <a:solidFill>
                    <a:srgbClr val="FFFFFF">
                      <a:alpha val="0"/>
                    </a:srgbClr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vert="horz" wrap="square" lIns="89595" tIns="44797" rIns="89595" bIns="44797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solidFill>
                  <a:srgbClr val="000000"/>
                </a:solidFill>
                <a:latin typeface="+mn-lt"/>
              </a:endParaRPr>
            </a:p>
          </p:txBody>
        </p:sp>
        <p:sp>
          <p:nvSpPr>
            <p:cNvPr id="34" name="Freeform 45"/>
            <p:cNvSpPr>
              <a:spLocks noEditPoints="1"/>
            </p:cNvSpPr>
            <p:nvPr/>
          </p:nvSpPr>
          <p:spPr bwMode="auto">
            <a:xfrm>
              <a:off x="422275" y="136525"/>
              <a:ext cx="195263" cy="360363"/>
            </a:xfrm>
            <a:custGeom>
              <a:avLst/>
              <a:gdLst>
                <a:gd name="T0" fmla="*/ 28 w 133"/>
                <a:gd name="T1" fmla="*/ 152 h 246"/>
                <a:gd name="T2" fmla="*/ 28 w 133"/>
                <a:gd name="T3" fmla="*/ 157 h 246"/>
                <a:gd name="T4" fmla="*/ 28 w 133"/>
                <a:gd name="T5" fmla="*/ 236 h 246"/>
                <a:gd name="T6" fmla="*/ 38 w 133"/>
                <a:gd name="T7" fmla="*/ 246 h 246"/>
                <a:gd name="T8" fmla="*/ 96 w 133"/>
                <a:gd name="T9" fmla="*/ 246 h 246"/>
                <a:gd name="T10" fmla="*/ 106 w 133"/>
                <a:gd name="T11" fmla="*/ 236 h 246"/>
                <a:gd name="T12" fmla="*/ 106 w 133"/>
                <a:gd name="T13" fmla="*/ 157 h 246"/>
                <a:gd name="T14" fmla="*/ 106 w 133"/>
                <a:gd name="T15" fmla="*/ 157 h 246"/>
                <a:gd name="T16" fmla="*/ 106 w 133"/>
                <a:gd name="T17" fmla="*/ 152 h 246"/>
                <a:gd name="T18" fmla="*/ 130 w 133"/>
                <a:gd name="T19" fmla="*/ 138 h 246"/>
                <a:gd name="T20" fmla="*/ 133 w 133"/>
                <a:gd name="T21" fmla="*/ 127 h 246"/>
                <a:gd name="T22" fmla="*/ 133 w 133"/>
                <a:gd name="T23" fmla="*/ 37 h 246"/>
                <a:gd name="T24" fmla="*/ 97 w 133"/>
                <a:gd name="T25" fmla="*/ 0 h 246"/>
                <a:gd name="T26" fmla="*/ 37 w 133"/>
                <a:gd name="T27" fmla="*/ 0 h 246"/>
                <a:gd name="T28" fmla="*/ 0 w 133"/>
                <a:gd name="T29" fmla="*/ 37 h 246"/>
                <a:gd name="T30" fmla="*/ 0 w 133"/>
                <a:gd name="T31" fmla="*/ 127 h 246"/>
                <a:gd name="T32" fmla="*/ 3 w 133"/>
                <a:gd name="T33" fmla="*/ 137 h 246"/>
                <a:gd name="T34" fmla="*/ 28 w 133"/>
                <a:gd name="T35" fmla="*/ 152 h 246"/>
                <a:gd name="T36" fmla="*/ 15 w 133"/>
                <a:gd name="T37" fmla="*/ 37 h 246"/>
                <a:gd name="T38" fmla="*/ 37 w 133"/>
                <a:gd name="T39" fmla="*/ 15 h 246"/>
                <a:gd name="T40" fmla="*/ 97 w 133"/>
                <a:gd name="T41" fmla="*/ 15 h 246"/>
                <a:gd name="T42" fmla="*/ 119 w 133"/>
                <a:gd name="T43" fmla="*/ 37 h 246"/>
                <a:gd name="T44" fmla="*/ 119 w 133"/>
                <a:gd name="T45" fmla="*/ 127 h 246"/>
                <a:gd name="T46" fmla="*/ 118 w 133"/>
                <a:gd name="T47" fmla="*/ 129 h 246"/>
                <a:gd name="T48" fmla="*/ 106 w 133"/>
                <a:gd name="T49" fmla="*/ 137 h 246"/>
                <a:gd name="T50" fmla="*/ 106 w 133"/>
                <a:gd name="T51" fmla="*/ 46 h 246"/>
                <a:gd name="T52" fmla="*/ 99 w 133"/>
                <a:gd name="T53" fmla="*/ 39 h 246"/>
                <a:gd name="T54" fmla="*/ 91 w 133"/>
                <a:gd name="T55" fmla="*/ 46 h 246"/>
                <a:gd name="T56" fmla="*/ 91 w 133"/>
                <a:gd name="T57" fmla="*/ 148 h 246"/>
                <a:gd name="T58" fmla="*/ 91 w 133"/>
                <a:gd name="T59" fmla="*/ 148 h 246"/>
                <a:gd name="T60" fmla="*/ 91 w 133"/>
                <a:gd name="T61" fmla="*/ 231 h 246"/>
                <a:gd name="T62" fmla="*/ 74 w 133"/>
                <a:gd name="T63" fmla="*/ 231 h 246"/>
                <a:gd name="T64" fmla="*/ 74 w 133"/>
                <a:gd name="T65" fmla="*/ 146 h 246"/>
                <a:gd name="T66" fmla="*/ 67 w 133"/>
                <a:gd name="T67" fmla="*/ 139 h 246"/>
                <a:gd name="T68" fmla="*/ 59 w 133"/>
                <a:gd name="T69" fmla="*/ 146 h 246"/>
                <a:gd name="T70" fmla="*/ 59 w 133"/>
                <a:gd name="T71" fmla="*/ 231 h 246"/>
                <a:gd name="T72" fmla="*/ 42 w 133"/>
                <a:gd name="T73" fmla="*/ 231 h 246"/>
                <a:gd name="T74" fmla="*/ 42 w 133"/>
                <a:gd name="T75" fmla="*/ 157 h 246"/>
                <a:gd name="T76" fmla="*/ 42 w 133"/>
                <a:gd name="T77" fmla="*/ 148 h 246"/>
                <a:gd name="T78" fmla="*/ 42 w 133"/>
                <a:gd name="T79" fmla="*/ 46 h 246"/>
                <a:gd name="T80" fmla="*/ 35 w 133"/>
                <a:gd name="T81" fmla="*/ 39 h 246"/>
                <a:gd name="T82" fmla="*/ 28 w 133"/>
                <a:gd name="T83" fmla="*/ 46 h 246"/>
                <a:gd name="T84" fmla="*/ 28 w 133"/>
                <a:gd name="T85" fmla="*/ 137 h 246"/>
                <a:gd name="T86" fmla="*/ 16 w 133"/>
                <a:gd name="T87" fmla="*/ 128 h 246"/>
                <a:gd name="T88" fmla="*/ 15 w 133"/>
                <a:gd name="T89" fmla="*/ 127 h 246"/>
                <a:gd name="T90" fmla="*/ 15 w 133"/>
                <a:gd name="T91" fmla="*/ 37 h 246"/>
                <a:gd name="T92" fmla="*/ 15 w 133"/>
                <a:gd name="T93" fmla="*/ 37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33" h="246">
                  <a:moveTo>
                    <a:pt x="28" y="152"/>
                  </a:moveTo>
                  <a:cubicBezTo>
                    <a:pt x="28" y="157"/>
                    <a:pt x="28" y="157"/>
                    <a:pt x="28" y="157"/>
                  </a:cubicBezTo>
                  <a:cubicBezTo>
                    <a:pt x="28" y="236"/>
                    <a:pt x="28" y="236"/>
                    <a:pt x="28" y="236"/>
                  </a:cubicBezTo>
                  <a:cubicBezTo>
                    <a:pt x="28" y="241"/>
                    <a:pt x="32" y="246"/>
                    <a:pt x="38" y="246"/>
                  </a:cubicBezTo>
                  <a:cubicBezTo>
                    <a:pt x="96" y="246"/>
                    <a:pt x="96" y="246"/>
                    <a:pt x="96" y="246"/>
                  </a:cubicBezTo>
                  <a:cubicBezTo>
                    <a:pt x="101" y="246"/>
                    <a:pt x="106" y="241"/>
                    <a:pt x="106" y="236"/>
                  </a:cubicBezTo>
                  <a:cubicBezTo>
                    <a:pt x="106" y="157"/>
                    <a:pt x="106" y="157"/>
                    <a:pt x="106" y="157"/>
                  </a:cubicBezTo>
                  <a:cubicBezTo>
                    <a:pt x="106" y="157"/>
                    <a:pt x="106" y="157"/>
                    <a:pt x="106" y="157"/>
                  </a:cubicBezTo>
                  <a:cubicBezTo>
                    <a:pt x="106" y="152"/>
                    <a:pt x="106" y="152"/>
                    <a:pt x="106" y="152"/>
                  </a:cubicBezTo>
                  <a:cubicBezTo>
                    <a:pt x="119" y="150"/>
                    <a:pt x="126" y="142"/>
                    <a:pt x="130" y="138"/>
                  </a:cubicBezTo>
                  <a:cubicBezTo>
                    <a:pt x="132" y="134"/>
                    <a:pt x="133" y="131"/>
                    <a:pt x="133" y="127"/>
                  </a:cubicBezTo>
                  <a:cubicBezTo>
                    <a:pt x="133" y="37"/>
                    <a:pt x="133" y="37"/>
                    <a:pt x="133" y="37"/>
                  </a:cubicBezTo>
                  <a:cubicBezTo>
                    <a:pt x="133" y="17"/>
                    <a:pt x="117" y="0"/>
                    <a:pt x="97" y="0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17" y="0"/>
                    <a:pt x="0" y="17"/>
                    <a:pt x="0" y="37"/>
                  </a:cubicBezTo>
                  <a:cubicBezTo>
                    <a:pt x="0" y="127"/>
                    <a:pt x="0" y="127"/>
                    <a:pt x="0" y="127"/>
                  </a:cubicBezTo>
                  <a:cubicBezTo>
                    <a:pt x="0" y="131"/>
                    <a:pt x="1" y="134"/>
                    <a:pt x="3" y="137"/>
                  </a:cubicBezTo>
                  <a:cubicBezTo>
                    <a:pt x="7" y="142"/>
                    <a:pt x="15" y="150"/>
                    <a:pt x="28" y="152"/>
                  </a:cubicBezTo>
                  <a:close/>
                  <a:moveTo>
                    <a:pt x="15" y="37"/>
                  </a:moveTo>
                  <a:cubicBezTo>
                    <a:pt x="15" y="25"/>
                    <a:pt x="25" y="15"/>
                    <a:pt x="37" y="15"/>
                  </a:cubicBezTo>
                  <a:cubicBezTo>
                    <a:pt x="97" y="15"/>
                    <a:pt x="97" y="15"/>
                    <a:pt x="97" y="15"/>
                  </a:cubicBezTo>
                  <a:cubicBezTo>
                    <a:pt x="108" y="15"/>
                    <a:pt x="119" y="25"/>
                    <a:pt x="119" y="37"/>
                  </a:cubicBezTo>
                  <a:cubicBezTo>
                    <a:pt x="119" y="127"/>
                    <a:pt x="119" y="127"/>
                    <a:pt x="119" y="127"/>
                  </a:cubicBezTo>
                  <a:cubicBezTo>
                    <a:pt x="119" y="127"/>
                    <a:pt x="118" y="128"/>
                    <a:pt x="118" y="129"/>
                  </a:cubicBezTo>
                  <a:cubicBezTo>
                    <a:pt x="116" y="132"/>
                    <a:pt x="112" y="135"/>
                    <a:pt x="106" y="137"/>
                  </a:cubicBezTo>
                  <a:cubicBezTo>
                    <a:pt x="106" y="46"/>
                    <a:pt x="106" y="46"/>
                    <a:pt x="106" y="46"/>
                  </a:cubicBezTo>
                  <a:cubicBezTo>
                    <a:pt x="106" y="42"/>
                    <a:pt x="103" y="39"/>
                    <a:pt x="99" y="39"/>
                  </a:cubicBezTo>
                  <a:cubicBezTo>
                    <a:pt x="94" y="39"/>
                    <a:pt x="91" y="42"/>
                    <a:pt x="91" y="46"/>
                  </a:cubicBezTo>
                  <a:cubicBezTo>
                    <a:pt x="91" y="148"/>
                    <a:pt x="91" y="148"/>
                    <a:pt x="91" y="148"/>
                  </a:cubicBezTo>
                  <a:cubicBezTo>
                    <a:pt x="91" y="148"/>
                    <a:pt x="91" y="148"/>
                    <a:pt x="91" y="148"/>
                  </a:cubicBezTo>
                  <a:cubicBezTo>
                    <a:pt x="91" y="231"/>
                    <a:pt x="91" y="231"/>
                    <a:pt x="91" y="231"/>
                  </a:cubicBezTo>
                  <a:cubicBezTo>
                    <a:pt x="74" y="231"/>
                    <a:pt x="74" y="231"/>
                    <a:pt x="74" y="231"/>
                  </a:cubicBezTo>
                  <a:cubicBezTo>
                    <a:pt x="74" y="146"/>
                    <a:pt x="74" y="146"/>
                    <a:pt x="74" y="146"/>
                  </a:cubicBezTo>
                  <a:cubicBezTo>
                    <a:pt x="74" y="142"/>
                    <a:pt x="71" y="139"/>
                    <a:pt x="67" y="139"/>
                  </a:cubicBezTo>
                  <a:cubicBezTo>
                    <a:pt x="63" y="139"/>
                    <a:pt x="59" y="142"/>
                    <a:pt x="59" y="146"/>
                  </a:cubicBezTo>
                  <a:cubicBezTo>
                    <a:pt x="59" y="231"/>
                    <a:pt x="59" y="231"/>
                    <a:pt x="59" y="231"/>
                  </a:cubicBezTo>
                  <a:cubicBezTo>
                    <a:pt x="42" y="231"/>
                    <a:pt x="42" y="231"/>
                    <a:pt x="42" y="231"/>
                  </a:cubicBezTo>
                  <a:cubicBezTo>
                    <a:pt x="42" y="157"/>
                    <a:pt x="42" y="157"/>
                    <a:pt x="42" y="157"/>
                  </a:cubicBezTo>
                  <a:cubicBezTo>
                    <a:pt x="42" y="148"/>
                    <a:pt x="42" y="148"/>
                    <a:pt x="42" y="148"/>
                  </a:cubicBezTo>
                  <a:cubicBezTo>
                    <a:pt x="42" y="46"/>
                    <a:pt x="42" y="46"/>
                    <a:pt x="42" y="46"/>
                  </a:cubicBezTo>
                  <a:cubicBezTo>
                    <a:pt x="42" y="42"/>
                    <a:pt x="39" y="39"/>
                    <a:pt x="35" y="39"/>
                  </a:cubicBezTo>
                  <a:cubicBezTo>
                    <a:pt x="31" y="39"/>
                    <a:pt x="28" y="42"/>
                    <a:pt x="28" y="46"/>
                  </a:cubicBezTo>
                  <a:cubicBezTo>
                    <a:pt x="28" y="137"/>
                    <a:pt x="28" y="137"/>
                    <a:pt x="28" y="137"/>
                  </a:cubicBezTo>
                  <a:cubicBezTo>
                    <a:pt x="21" y="135"/>
                    <a:pt x="18" y="131"/>
                    <a:pt x="16" y="128"/>
                  </a:cubicBezTo>
                  <a:cubicBezTo>
                    <a:pt x="15" y="128"/>
                    <a:pt x="15" y="127"/>
                    <a:pt x="15" y="127"/>
                  </a:cubicBezTo>
                  <a:cubicBezTo>
                    <a:pt x="15" y="37"/>
                    <a:pt x="15" y="37"/>
                    <a:pt x="15" y="37"/>
                  </a:cubicBezTo>
                  <a:cubicBezTo>
                    <a:pt x="15" y="37"/>
                    <a:pt x="15" y="37"/>
                    <a:pt x="15" y="3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0" cap="flat" cmpd="sng" algn="ctr">
                  <a:solidFill>
                    <a:srgbClr val="FFFFFF">
                      <a:alpha val="0"/>
                    </a:srgbClr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vert="horz" wrap="square" lIns="89595" tIns="44797" rIns="89595" bIns="44797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solidFill>
                  <a:srgbClr val="000000"/>
                </a:solidFill>
                <a:latin typeface="+mn-lt"/>
              </a:endParaRPr>
            </a:p>
          </p:txBody>
        </p:sp>
        <p:sp>
          <p:nvSpPr>
            <p:cNvPr id="35" name="Freeform 46"/>
            <p:cNvSpPr>
              <a:spLocks noEditPoints="1"/>
            </p:cNvSpPr>
            <p:nvPr/>
          </p:nvSpPr>
          <p:spPr bwMode="auto">
            <a:xfrm>
              <a:off x="466725" y="26988"/>
              <a:ext cx="107950" cy="109538"/>
            </a:xfrm>
            <a:custGeom>
              <a:avLst/>
              <a:gdLst>
                <a:gd name="T0" fmla="*/ 37 w 74"/>
                <a:gd name="T1" fmla="*/ 74 h 74"/>
                <a:gd name="T2" fmla="*/ 74 w 74"/>
                <a:gd name="T3" fmla="*/ 38 h 74"/>
                <a:gd name="T4" fmla="*/ 37 w 74"/>
                <a:gd name="T5" fmla="*/ 0 h 74"/>
                <a:gd name="T6" fmla="*/ 0 w 74"/>
                <a:gd name="T7" fmla="*/ 38 h 74"/>
                <a:gd name="T8" fmla="*/ 37 w 74"/>
                <a:gd name="T9" fmla="*/ 74 h 74"/>
                <a:gd name="T10" fmla="*/ 37 w 74"/>
                <a:gd name="T11" fmla="*/ 14 h 74"/>
                <a:gd name="T12" fmla="*/ 60 w 74"/>
                <a:gd name="T13" fmla="*/ 38 h 74"/>
                <a:gd name="T14" fmla="*/ 37 w 74"/>
                <a:gd name="T15" fmla="*/ 60 h 74"/>
                <a:gd name="T16" fmla="*/ 14 w 74"/>
                <a:gd name="T17" fmla="*/ 38 h 74"/>
                <a:gd name="T18" fmla="*/ 37 w 74"/>
                <a:gd name="T19" fmla="*/ 14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4" h="74">
                  <a:moveTo>
                    <a:pt x="37" y="74"/>
                  </a:moveTo>
                  <a:cubicBezTo>
                    <a:pt x="58" y="74"/>
                    <a:pt x="74" y="58"/>
                    <a:pt x="74" y="38"/>
                  </a:cubicBezTo>
                  <a:cubicBezTo>
                    <a:pt x="74" y="17"/>
                    <a:pt x="58" y="0"/>
                    <a:pt x="37" y="0"/>
                  </a:cubicBezTo>
                  <a:cubicBezTo>
                    <a:pt x="16" y="0"/>
                    <a:pt x="0" y="17"/>
                    <a:pt x="0" y="38"/>
                  </a:cubicBezTo>
                  <a:cubicBezTo>
                    <a:pt x="0" y="58"/>
                    <a:pt x="16" y="74"/>
                    <a:pt x="37" y="74"/>
                  </a:cubicBezTo>
                  <a:close/>
                  <a:moveTo>
                    <a:pt x="37" y="14"/>
                  </a:moveTo>
                  <a:cubicBezTo>
                    <a:pt x="50" y="14"/>
                    <a:pt x="60" y="25"/>
                    <a:pt x="60" y="38"/>
                  </a:cubicBezTo>
                  <a:cubicBezTo>
                    <a:pt x="60" y="50"/>
                    <a:pt x="50" y="60"/>
                    <a:pt x="37" y="60"/>
                  </a:cubicBezTo>
                  <a:cubicBezTo>
                    <a:pt x="25" y="60"/>
                    <a:pt x="14" y="50"/>
                    <a:pt x="14" y="38"/>
                  </a:cubicBezTo>
                  <a:cubicBezTo>
                    <a:pt x="14" y="25"/>
                    <a:pt x="25" y="14"/>
                    <a:pt x="37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0" cap="flat" cmpd="sng" algn="ctr">
                  <a:solidFill>
                    <a:srgbClr val="FFFFFF">
                      <a:alpha val="0"/>
                    </a:srgbClr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vert="horz" wrap="square" lIns="89595" tIns="44797" rIns="89595" bIns="44797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solidFill>
                  <a:srgbClr val="000000"/>
                </a:solidFill>
                <a:latin typeface="+mn-lt"/>
              </a:endParaRPr>
            </a:p>
          </p:txBody>
        </p:sp>
        <p:sp>
          <p:nvSpPr>
            <p:cNvPr id="36" name="Freeform 47"/>
            <p:cNvSpPr>
              <a:spLocks/>
            </p:cNvSpPr>
            <p:nvPr/>
          </p:nvSpPr>
          <p:spPr bwMode="auto">
            <a:xfrm>
              <a:off x="0" y="487363"/>
              <a:ext cx="628651" cy="128588"/>
            </a:xfrm>
            <a:custGeom>
              <a:avLst/>
              <a:gdLst>
                <a:gd name="T0" fmla="*/ 421 w 430"/>
                <a:gd name="T1" fmla="*/ 71 h 88"/>
                <a:gd name="T2" fmla="*/ 411 w 430"/>
                <a:gd name="T3" fmla="*/ 71 h 88"/>
                <a:gd name="T4" fmla="*/ 411 w 430"/>
                <a:gd name="T5" fmla="*/ 25 h 88"/>
                <a:gd name="T6" fmla="*/ 403 w 430"/>
                <a:gd name="T7" fmla="*/ 16 h 88"/>
                <a:gd name="T8" fmla="*/ 311 w 430"/>
                <a:gd name="T9" fmla="*/ 16 h 88"/>
                <a:gd name="T10" fmla="*/ 302 w 430"/>
                <a:gd name="T11" fmla="*/ 25 h 88"/>
                <a:gd name="T12" fmla="*/ 302 w 430"/>
                <a:gd name="T13" fmla="*/ 71 h 88"/>
                <a:gd name="T14" fmla="*/ 289 w 430"/>
                <a:gd name="T15" fmla="*/ 71 h 88"/>
                <a:gd name="T16" fmla="*/ 289 w 430"/>
                <a:gd name="T17" fmla="*/ 8 h 88"/>
                <a:gd name="T18" fmla="*/ 280 w 430"/>
                <a:gd name="T19" fmla="*/ 0 h 88"/>
                <a:gd name="T20" fmla="*/ 153 w 430"/>
                <a:gd name="T21" fmla="*/ 0 h 88"/>
                <a:gd name="T22" fmla="*/ 145 w 430"/>
                <a:gd name="T23" fmla="*/ 8 h 88"/>
                <a:gd name="T24" fmla="*/ 145 w 430"/>
                <a:gd name="T25" fmla="*/ 71 h 88"/>
                <a:gd name="T26" fmla="*/ 131 w 430"/>
                <a:gd name="T27" fmla="*/ 71 h 88"/>
                <a:gd name="T28" fmla="*/ 131 w 430"/>
                <a:gd name="T29" fmla="*/ 26 h 88"/>
                <a:gd name="T30" fmla="*/ 123 w 430"/>
                <a:gd name="T31" fmla="*/ 17 h 88"/>
                <a:gd name="T32" fmla="*/ 31 w 430"/>
                <a:gd name="T33" fmla="*/ 17 h 88"/>
                <a:gd name="T34" fmla="*/ 22 w 430"/>
                <a:gd name="T35" fmla="*/ 26 h 88"/>
                <a:gd name="T36" fmla="*/ 22 w 430"/>
                <a:gd name="T37" fmla="*/ 71 h 88"/>
                <a:gd name="T38" fmla="*/ 8 w 430"/>
                <a:gd name="T39" fmla="*/ 71 h 88"/>
                <a:gd name="T40" fmla="*/ 0 w 430"/>
                <a:gd name="T41" fmla="*/ 79 h 88"/>
                <a:gd name="T42" fmla="*/ 8 w 430"/>
                <a:gd name="T43" fmla="*/ 88 h 88"/>
                <a:gd name="T44" fmla="*/ 31 w 430"/>
                <a:gd name="T45" fmla="*/ 88 h 88"/>
                <a:gd name="T46" fmla="*/ 39 w 430"/>
                <a:gd name="T47" fmla="*/ 79 h 88"/>
                <a:gd name="T48" fmla="*/ 39 w 430"/>
                <a:gd name="T49" fmla="*/ 34 h 88"/>
                <a:gd name="T50" fmla="*/ 115 w 430"/>
                <a:gd name="T51" fmla="*/ 34 h 88"/>
                <a:gd name="T52" fmla="*/ 115 w 430"/>
                <a:gd name="T53" fmla="*/ 79 h 88"/>
                <a:gd name="T54" fmla="*/ 123 w 430"/>
                <a:gd name="T55" fmla="*/ 88 h 88"/>
                <a:gd name="T56" fmla="*/ 153 w 430"/>
                <a:gd name="T57" fmla="*/ 88 h 88"/>
                <a:gd name="T58" fmla="*/ 161 w 430"/>
                <a:gd name="T59" fmla="*/ 79 h 88"/>
                <a:gd name="T60" fmla="*/ 161 w 430"/>
                <a:gd name="T61" fmla="*/ 16 h 88"/>
                <a:gd name="T62" fmla="*/ 272 w 430"/>
                <a:gd name="T63" fmla="*/ 16 h 88"/>
                <a:gd name="T64" fmla="*/ 272 w 430"/>
                <a:gd name="T65" fmla="*/ 79 h 88"/>
                <a:gd name="T66" fmla="*/ 280 w 430"/>
                <a:gd name="T67" fmla="*/ 88 h 88"/>
                <a:gd name="T68" fmla="*/ 311 w 430"/>
                <a:gd name="T69" fmla="*/ 88 h 88"/>
                <a:gd name="T70" fmla="*/ 319 w 430"/>
                <a:gd name="T71" fmla="*/ 79 h 88"/>
                <a:gd name="T72" fmla="*/ 319 w 430"/>
                <a:gd name="T73" fmla="*/ 33 h 88"/>
                <a:gd name="T74" fmla="*/ 394 w 430"/>
                <a:gd name="T75" fmla="*/ 33 h 88"/>
                <a:gd name="T76" fmla="*/ 394 w 430"/>
                <a:gd name="T77" fmla="*/ 79 h 88"/>
                <a:gd name="T78" fmla="*/ 403 w 430"/>
                <a:gd name="T79" fmla="*/ 88 h 88"/>
                <a:gd name="T80" fmla="*/ 421 w 430"/>
                <a:gd name="T81" fmla="*/ 88 h 88"/>
                <a:gd name="T82" fmla="*/ 430 w 430"/>
                <a:gd name="T83" fmla="*/ 79 h 88"/>
                <a:gd name="T84" fmla="*/ 421 w 430"/>
                <a:gd name="T85" fmla="*/ 71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30" h="88">
                  <a:moveTo>
                    <a:pt x="421" y="71"/>
                  </a:moveTo>
                  <a:cubicBezTo>
                    <a:pt x="411" y="71"/>
                    <a:pt x="411" y="71"/>
                    <a:pt x="411" y="71"/>
                  </a:cubicBezTo>
                  <a:cubicBezTo>
                    <a:pt x="411" y="25"/>
                    <a:pt x="411" y="25"/>
                    <a:pt x="411" y="25"/>
                  </a:cubicBezTo>
                  <a:cubicBezTo>
                    <a:pt x="411" y="20"/>
                    <a:pt x="407" y="16"/>
                    <a:pt x="403" y="16"/>
                  </a:cubicBezTo>
                  <a:cubicBezTo>
                    <a:pt x="311" y="16"/>
                    <a:pt x="311" y="16"/>
                    <a:pt x="311" y="16"/>
                  </a:cubicBezTo>
                  <a:cubicBezTo>
                    <a:pt x="306" y="16"/>
                    <a:pt x="302" y="20"/>
                    <a:pt x="302" y="25"/>
                  </a:cubicBezTo>
                  <a:cubicBezTo>
                    <a:pt x="302" y="71"/>
                    <a:pt x="302" y="71"/>
                    <a:pt x="302" y="71"/>
                  </a:cubicBezTo>
                  <a:cubicBezTo>
                    <a:pt x="289" y="71"/>
                    <a:pt x="289" y="71"/>
                    <a:pt x="289" y="71"/>
                  </a:cubicBezTo>
                  <a:cubicBezTo>
                    <a:pt x="289" y="8"/>
                    <a:pt x="289" y="8"/>
                    <a:pt x="289" y="8"/>
                  </a:cubicBezTo>
                  <a:cubicBezTo>
                    <a:pt x="289" y="3"/>
                    <a:pt x="285" y="0"/>
                    <a:pt x="280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48" y="0"/>
                    <a:pt x="145" y="3"/>
                    <a:pt x="145" y="8"/>
                  </a:cubicBezTo>
                  <a:cubicBezTo>
                    <a:pt x="145" y="71"/>
                    <a:pt x="145" y="71"/>
                    <a:pt x="145" y="71"/>
                  </a:cubicBezTo>
                  <a:cubicBezTo>
                    <a:pt x="131" y="71"/>
                    <a:pt x="131" y="71"/>
                    <a:pt x="131" y="71"/>
                  </a:cubicBezTo>
                  <a:cubicBezTo>
                    <a:pt x="131" y="26"/>
                    <a:pt x="131" y="26"/>
                    <a:pt x="131" y="26"/>
                  </a:cubicBezTo>
                  <a:cubicBezTo>
                    <a:pt x="131" y="21"/>
                    <a:pt x="127" y="17"/>
                    <a:pt x="123" y="17"/>
                  </a:cubicBezTo>
                  <a:cubicBezTo>
                    <a:pt x="31" y="17"/>
                    <a:pt x="31" y="17"/>
                    <a:pt x="31" y="17"/>
                  </a:cubicBezTo>
                  <a:cubicBezTo>
                    <a:pt x="26" y="17"/>
                    <a:pt x="22" y="21"/>
                    <a:pt x="22" y="26"/>
                  </a:cubicBezTo>
                  <a:cubicBezTo>
                    <a:pt x="22" y="71"/>
                    <a:pt x="22" y="71"/>
                    <a:pt x="22" y="71"/>
                  </a:cubicBezTo>
                  <a:cubicBezTo>
                    <a:pt x="8" y="71"/>
                    <a:pt x="8" y="71"/>
                    <a:pt x="8" y="71"/>
                  </a:cubicBezTo>
                  <a:cubicBezTo>
                    <a:pt x="3" y="71"/>
                    <a:pt x="0" y="74"/>
                    <a:pt x="0" y="79"/>
                  </a:cubicBezTo>
                  <a:cubicBezTo>
                    <a:pt x="0" y="84"/>
                    <a:pt x="3" y="88"/>
                    <a:pt x="8" y="88"/>
                  </a:cubicBezTo>
                  <a:cubicBezTo>
                    <a:pt x="31" y="88"/>
                    <a:pt x="31" y="88"/>
                    <a:pt x="31" y="88"/>
                  </a:cubicBezTo>
                  <a:cubicBezTo>
                    <a:pt x="35" y="88"/>
                    <a:pt x="39" y="84"/>
                    <a:pt x="39" y="79"/>
                  </a:cubicBezTo>
                  <a:cubicBezTo>
                    <a:pt x="39" y="34"/>
                    <a:pt x="39" y="34"/>
                    <a:pt x="39" y="34"/>
                  </a:cubicBezTo>
                  <a:cubicBezTo>
                    <a:pt x="115" y="34"/>
                    <a:pt x="115" y="34"/>
                    <a:pt x="115" y="34"/>
                  </a:cubicBezTo>
                  <a:cubicBezTo>
                    <a:pt x="115" y="79"/>
                    <a:pt x="115" y="79"/>
                    <a:pt x="115" y="79"/>
                  </a:cubicBezTo>
                  <a:cubicBezTo>
                    <a:pt x="115" y="84"/>
                    <a:pt x="118" y="88"/>
                    <a:pt x="123" y="88"/>
                  </a:cubicBezTo>
                  <a:cubicBezTo>
                    <a:pt x="153" y="88"/>
                    <a:pt x="153" y="88"/>
                    <a:pt x="153" y="88"/>
                  </a:cubicBezTo>
                  <a:cubicBezTo>
                    <a:pt x="157" y="88"/>
                    <a:pt x="161" y="84"/>
                    <a:pt x="161" y="79"/>
                  </a:cubicBezTo>
                  <a:cubicBezTo>
                    <a:pt x="161" y="16"/>
                    <a:pt x="161" y="16"/>
                    <a:pt x="161" y="16"/>
                  </a:cubicBezTo>
                  <a:cubicBezTo>
                    <a:pt x="272" y="16"/>
                    <a:pt x="272" y="16"/>
                    <a:pt x="272" y="16"/>
                  </a:cubicBezTo>
                  <a:cubicBezTo>
                    <a:pt x="272" y="79"/>
                    <a:pt x="272" y="79"/>
                    <a:pt x="272" y="79"/>
                  </a:cubicBezTo>
                  <a:cubicBezTo>
                    <a:pt x="272" y="84"/>
                    <a:pt x="276" y="88"/>
                    <a:pt x="280" y="88"/>
                  </a:cubicBezTo>
                  <a:cubicBezTo>
                    <a:pt x="311" y="88"/>
                    <a:pt x="311" y="88"/>
                    <a:pt x="311" y="88"/>
                  </a:cubicBezTo>
                  <a:cubicBezTo>
                    <a:pt x="315" y="88"/>
                    <a:pt x="319" y="84"/>
                    <a:pt x="319" y="79"/>
                  </a:cubicBezTo>
                  <a:cubicBezTo>
                    <a:pt x="319" y="33"/>
                    <a:pt x="319" y="33"/>
                    <a:pt x="319" y="33"/>
                  </a:cubicBezTo>
                  <a:cubicBezTo>
                    <a:pt x="394" y="33"/>
                    <a:pt x="394" y="33"/>
                    <a:pt x="394" y="33"/>
                  </a:cubicBezTo>
                  <a:cubicBezTo>
                    <a:pt x="394" y="79"/>
                    <a:pt x="394" y="79"/>
                    <a:pt x="394" y="79"/>
                  </a:cubicBezTo>
                  <a:cubicBezTo>
                    <a:pt x="394" y="84"/>
                    <a:pt x="398" y="88"/>
                    <a:pt x="403" y="88"/>
                  </a:cubicBezTo>
                  <a:cubicBezTo>
                    <a:pt x="421" y="88"/>
                    <a:pt x="421" y="88"/>
                    <a:pt x="421" y="88"/>
                  </a:cubicBezTo>
                  <a:cubicBezTo>
                    <a:pt x="426" y="88"/>
                    <a:pt x="430" y="84"/>
                    <a:pt x="430" y="79"/>
                  </a:cubicBezTo>
                  <a:cubicBezTo>
                    <a:pt x="430" y="74"/>
                    <a:pt x="426" y="71"/>
                    <a:pt x="421" y="7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0" cap="flat" cmpd="sng" algn="ctr">
                  <a:solidFill>
                    <a:srgbClr val="FFFFFF">
                      <a:alpha val="0"/>
                    </a:srgbClr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vert="horz" wrap="square" lIns="89595" tIns="44797" rIns="89595" bIns="44797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solidFill>
                  <a:srgbClr val="000000"/>
                </a:solidFill>
                <a:latin typeface="+mn-lt"/>
              </a:endParaRPr>
            </a:p>
          </p:txBody>
        </p:sp>
      </p:grpSp>
      <p:sp>
        <p:nvSpPr>
          <p:cNvPr id="129" name="Rectangle 25"/>
          <p:cNvSpPr txBox="1">
            <a:spLocks/>
          </p:cNvSpPr>
          <p:nvPr>
            <p:custDataLst>
              <p:tags r:id="rId21"/>
            </p:custDataLst>
          </p:nvPr>
        </p:nvSpPr>
        <p:spPr>
          <a:xfrm>
            <a:off x="158759" y="3557422"/>
            <a:ext cx="860416" cy="1396824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vert="horz" wrap="square" lIns="72009" tIns="72009" rIns="72009" bIns="72009" rtlCol="0" anchor="ctr" anchorCtr="0">
            <a:noAutofit/>
          </a:bodyPr>
          <a:lstStyle>
            <a:defPPr>
              <a:defRPr lang="en-US"/>
            </a:defPPr>
            <a:lvl1pPr lvl="0" indent="0" defTabSz="457063"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Font typeface="Arial"/>
              <a:buNone/>
              <a:defRPr sz="1400" b="1">
                <a:solidFill>
                  <a:schemeClr val="bg1"/>
                </a:solidFill>
              </a:defRPr>
            </a:lvl1pPr>
            <a:lvl2pPr marL="0" lvl="1" indent="0" defTabSz="457063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FontTx/>
              <a:buNone/>
              <a:defRPr sz="1400" baseline="0">
                <a:solidFill>
                  <a:schemeClr val="tx2"/>
                </a:solidFill>
              </a:defRPr>
            </a:lvl2pPr>
            <a:lvl3pPr marL="228531" lvl="2" indent="-228531" defTabSz="457063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Font typeface="Lucida Grande"/>
              <a:buChar char="–"/>
              <a:defRPr sz="1400" baseline="0">
                <a:solidFill>
                  <a:schemeClr val="tx2"/>
                </a:solidFill>
              </a:defRPr>
            </a:lvl3pPr>
            <a:lvl4pPr marL="457063" lvl="3" indent="-231705" defTabSz="457063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Font typeface="Arial"/>
              <a:buChar char="•"/>
              <a:defRPr sz="1400">
                <a:solidFill>
                  <a:schemeClr val="tx2"/>
                </a:solidFill>
              </a:defRPr>
            </a:lvl4pPr>
            <a:lvl5pPr marL="685594" lvl="4" indent="-228531" defTabSz="457063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Font typeface="Lucida Grande"/>
              <a:buChar char="–"/>
              <a:defRPr sz="1400">
                <a:solidFill>
                  <a:schemeClr val="tx2"/>
                </a:solidFill>
              </a:defRPr>
            </a:lvl5pPr>
            <a:lvl6pPr marL="917300" lvl="5" indent="-228531" defTabSz="457063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Font typeface="Lucida Grande"/>
              <a:buChar char="»"/>
              <a:defRPr sz="1400" baseline="0">
                <a:solidFill>
                  <a:schemeClr val="tx2"/>
                </a:solidFill>
              </a:defRPr>
            </a:lvl6pPr>
            <a:lvl7pPr marL="1142657" lvl="6" indent="-225357" defTabSz="457063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Font typeface="Arial"/>
              <a:buChar char="•"/>
              <a:defRPr sz="1400">
                <a:solidFill>
                  <a:schemeClr val="tx2"/>
                </a:solidFill>
              </a:defRPr>
            </a:lvl7pPr>
            <a:lvl8pPr marL="3427971" indent="-228531" defTabSz="457063">
              <a:spcBef>
                <a:spcPct val="20000"/>
              </a:spcBef>
              <a:buFont typeface="Arial"/>
              <a:buChar char="•"/>
              <a:defRPr sz="1999"/>
            </a:lvl8pPr>
            <a:lvl9pPr marL="3885034" indent="-228531" defTabSz="457063">
              <a:spcBef>
                <a:spcPct val="20000"/>
              </a:spcBef>
              <a:buFont typeface="Arial"/>
              <a:buChar char="•"/>
              <a:defRPr sz="1999"/>
            </a:lvl9pPr>
          </a:lstStyle>
          <a:p>
            <a:r>
              <a:rPr lang="en-US" sz="1200" dirty="0">
                <a:solidFill>
                  <a:schemeClr val="bg2"/>
                </a:solidFill>
              </a:rPr>
              <a:t>Focus</a:t>
            </a:r>
          </a:p>
        </p:txBody>
      </p:sp>
      <p:sp>
        <p:nvSpPr>
          <p:cNvPr id="64" name="Rectangle 25"/>
          <p:cNvSpPr txBox="1">
            <a:spLocks/>
          </p:cNvSpPr>
          <p:nvPr>
            <p:custDataLst>
              <p:tags r:id="rId22"/>
            </p:custDataLst>
          </p:nvPr>
        </p:nvSpPr>
        <p:spPr>
          <a:xfrm>
            <a:off x="4228487" y="3557422"/>
            <a:ext cx="1416005" cy="1396824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vert="horz" lIns="74643" tIns="74643" rIns="74643" bIns="74643" rtlCol="0" anchor="t" anchorCtr="0">
            <a:noAutofit/>
          </a:bodyPr>
          <a:lstStyle>
            <a:defPPr>
              <a:defRPr lang="en-US"/>
            </a:defPPr>
            <a:lvl1pPr lvl="0" indent="0" defTabSz="457063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Arial"/>
              <a:buNone/>
            </a:lvl1pPr>
            <a:lvl2pPr marL="0" lvl="1" indent="0" defTabSz="457063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FontTx/>
              <a:buNone/>
              <a:defRPr sz="1400" baseline="0">
                <a:solidFill>
                  <a:schemeClr val="tx2"/>
                </a:solidFill>
              </a:defRPr>
            </a:lvl2pPr>
            <a:lvl3pPr marL="228531" lvl="2" indent="-228531" defTabSz="457063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Font typeface="Lucida Grande"/>
              <a:buChar char="–"/>
              <a:defRPr sz="1400" baseline="0">
                <a:solidFill>
                  <a:schemeClr val="tx2"/>
                </a:solidFill>
              </a:defRPr>
            </a:lvl3pPr>
            <a:lvl4pPr marL="457063" lvl="3" indent="-231705" defTabSz="457063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Font typeface="Arial"/>
              <a:buChar char="•"/>
              <a:defRPr sz="1400">
                <a:solidFill>
                  <a:schemeClr val="tx2"/>
                </a:solidFill>
              </a:defRPr>
            </a:lvl4pPr>
            <a:lvl5pPr marL="685594" lvl="4" indent="-228531" defTabSz="457063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Font typeface="Lucida Grande"/>
              <a:buChar char="–"/>
              <a:defRPr sz="1400">
                <a:solidFill>
                  <a:schemeClr val="tx2"/>
                </a:solidFill>
              </a:defRPr>
            </a:lvl5pPr>
            <a:lvl6pPr marL="917300" lvl="5" indent="-228531" defTabSz="457063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Font typeface="Lucida Grande"/>
              <a:buChar char="»"/>
              <a:defRPr sz="1400" baseline="0">
                <a:solidFill>
                  <a:schemeClr val="tx2"/>
                </a:solidFill>
              </a:defRPr>
            </a:lvl6pPr>
            <a:lvl7pPr marL="1142657" lvl="6" indent="-225357" defTabSz="457063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Font typeface="Arial"/>
              <a:buChar char="•"/>
              <a:defRPr sz="1400">
                <a:solidFill>
                  <a:schemeClr val="tx2"/>
                </a:solidFill>
              </a:defRPr>
            </a:lvl7pPr>
            <a:lvl8pPr marL="3427971" indent="-228531" defTabSz="457063">
              <a:spcBef>
                <a:spcPct val="20000"/>
              </a:spcBef>
              <a:buFont typeface="Arial"/>
              <a:buChar char="•"/>
              <a:defRPr sz="1999"/>
            </a:lvl8pPr>
            <a:lvl9pPr marL="3885034" indent="-228531" defTabSz="457063">
              <a:spcBef>
                <a:spcPct val="20000"/>
              </a:spcBef>
              <a:buFont typeface="Arial"/>
              <a:buChar char="•"/>
              <a:defRPr sz="1999"/>
            </a:lvl9pPr>
          </a:lstStyle>
          <a:p>
            <a:pPr fontAlgn="auto">
              <a:buClr>
                <a:srgbClr val="000000"/>
              </a:buClr>
            </a:pPr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414B13D-6726-4636-A45B-D56F6858A9A2}"/>
              </a:ext>
            </a:extLst>
          </p:cNvPr>
          <p:cNvSpPr txBox="1"/>
          <p:nvPr/>
        </p:nvSpPr>
        <p:spPr>
          <a:xfrm>
            <a:off x="4279263" y="3584673"/>
            <a:ext cx="1314457" cy="1218795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lvl="1">
              <a:spcBef>
                <a:spcPct val="30000"/>
              </a:spcBef>
            </a:pPr>
            <a:r>
              <a:rPr lang="en-US" sz="1200" dirty="0"/>
              <a:t>What Sales Plays are</a:t>
            </a:r>
          </a:p>
          <a:p>
            <a:pPr lvl="1">
              <a:spcBef>
                <a:spcPct val="30000"/>
              </a:spcBef>
            </a:pPr>
            <a:r>
              <a:rPr lang="en-US" sz="1200" dirty="0"/>
              <a:t>How to use Plays</a:t>
            </a:r>
          </a:p>
          <a:p>
            <a:pPr lvl="1">
              <a:spcBef>
                <a:spcPct val="30000"/>
              </a:spcBef>
            </a:pPr>
            <a:r>
              <a:rPr lang="en-US" sz="1200" dirty="0"/>
              <a:t>Vertical-specific Sales Plays</a:t>
            </a:r>
          </a:p>
        </p:txBody>
      </p:sp>
      <p:sp>
        <p:nvSpPr>
          <p:cNvPr id="75" name="Rectangle 25"/>
          <p:cNvSpPr txBox="1">
            <a:spLocks/>
          </p:cNvSpPr>
          <p:nvPr>
            <p:custDataLst>
              <p:tags r:id="rId23"/>
            </p:custDataLst>
          </p:nvPr>
        </p:nvSpPr>
        <p:spPr>
          <a:xfrm>
            <a:off x="1121045" y="3557422"/>
            <a:ext cx="1416005" cy="1396824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vert="horz" lIns="74643" tIns="74643" rIns="74643" bIns="74643" rtlCol="0" anchor="t" anchorCtr="0">
            <a:noAutofit/>
          </a:bodyPr>
          <a:lstStyle>
            <a:defPPr>
              <a:defRPr lang="en-US"/>
            </a:defPPr>
            <a:lvl1pPr lvl="0" indent="0" defTabSz="457063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Arial"/>
              <a:buNone/>
            </a:lvl1pPr>
            <a:lvl2pPr marL="0" lvl="1" indent="0" defTabSz="457063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FontTx/>
              <a:buNone/>
              <a:defRPr sz="1400" baseline="0">
                <a:solidFill>
                  <a:schemeClr val="tx2"/>
                </a:solidFill>
              </a:defRPr>
            </a:lvl2pPr>
            <a:lvl3pPr marL="228531" lvl="2" indent="-228531" defTabSz="457063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Font typeface="Lucida Grande"/>
              <a:buChar char="–"/>
              <a:defRPr sz="1400" baseline="0">
                <a:solidFill>
                  <a:schemeClr val="tx2"/>
                </a:solidFill>
              </a:defRPr>
            </a:lvl3pPr>
            <a:lvl4pPr marL="457063" lvl="3" indent="-231705" defTabSz="457063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Font typeface="Arial"/>
              <a:buChar char="•"/>
              <a:defRPr sz="1400">
                <a:solidFill>
                  <a:schemeClr val="tx2"/>
                </a:solidFill>
              </a:defRPr>
            </a:lvl4pPr>
            <a:lvl5pPr marL="685594" lvl="4" indent="-228531" defTabSz="457063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Font typeface="Lucida Grande"/>
              <a:buChar char="–"/>
              <a:defRPr sz="1400">
                <a:solidFill>
                  <a:schemeClr val="tx2"/>
                </a:solidFill>
              </a:defRPr>
            </a:lvl5pPr>
            <a:lvl6pPr marL="917300" lvl="5" indent="-228531" defTabSz="457063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Font typeface="Lucida Grande"/>
              <a:buChar char="»"/>
              <a:defRPr sz="1400" baseline="0">
                <a:solidFill>
                  <a:schemeClr val="tx2"/>
                </a:solidFill>
              </a:defRPr>
            </a:lvl6pPr>
            <a:lvl7pPr marL="1142657" lvl="6" indent="-225357" defTabSz="457063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Font typeface="Arial"/>
              <a:buChar char="•"/>
              <a:defRPr sz="1400">
                <a:solidFill>
                  <a:schemeClr val="tx2"/>
                </a:solidFill>
              </a:defRPr>
            </a:lvl7pPr>
            <a:lvl8pPr marL="3427971" indent="-228531" defTabSz="457063">
              <a:spcBef>
                <a:spcPct val="20000"/>
              </a:spcBef>
              <a:buFont typeface="Arial"/>
              <a:buChar char="•"/>
              <a:defRPr sz="1999"/>
            </a:lvl8pPr>
            <a:lvl9pPr marL="3885034" indent="-228531" defTabSz="457063">
              <a:spcBef>
                <a:spcPct val="20000"/>
              </a:spcBef>
              <a:buFont typeface="Arial"/>
              <a:buChar char="•"/>
              <a:defRPr sz="1999"/>
            </a:lvl9pPr>
          </a:lstStyle>
          <a:p>
            <a:pPr fontAlgn="auto">
              <a:buClr>
                <a:srgbClr val="000000"/>
              </a:buClr>
            </a:pPr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09C70182-248E-4976-80AC-869A398F2B27}"/>
              </a:ext>
            </a:extLst>
          </p:cNvPr>
          <p:cNvSpPr txBox="1"/>
          <p:nvPr/>
        </p:nvSpPr>
        <p:spPr>
          <a:xfrm>
            <a:off x="1171819" y="3584673"/>
            <a:ext cx="1314457" cy="1163395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lvl="1">
              <a:spcBef>
                <a:spcPct val="30000"/>
              </a:spcBef>
            </a:pPr>
            <a:r>
              <a:rPr lang="en-US" sz="1200" dirty="0"/>
              <a:t>Understand breadth of change</a:t>
            </a:r>
          </a:p>
          <a:p>
            <a:pPr lvl="1">
              <a:spcBef>
                <a:spcPct val="30000"/>
              </a:spcBef>
            </a:pPr>
            <a:r>
              <a:rPr lang="en-US" sz="1200" dirty="0"/>
              <a:t>Build organizational excitement</a:t>
            </a:r>
          </a:p>
        </p:txBody>
      </p:sp>
      <p:sp>
        <p:nvSpPr>
          <p:cNvPr id="46" name="Rectangle 25"/>
          <p:cNvSpPr txBox="1">
            <a:spLocks/>
          </p:cNvSpPr>
          <p:nvPr>
            <p:custDataLst>
              <p:tags r:id="rId24"/>
            </p:custDataLst>
          </p:nvPr>
        </p:nvSpPr>
        <p:spPr>
          <a:xfrm>
            <a:off x="2673007" y="3557422"/>
            <a:ext cx="1416005" cy="1396824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vert="horz" lIns="74643" tIns="74643" rIns="74643" bIns="74643" rtlCol="0" anchor="t" anchorCtr="0">
            <a:noAutofit/>
          </a:bodyPr>
          <a:lstStyle>
            <a:defPPr>
              <a:defRPr lang="en-US"/>
            </a:defPPr>
            <a:lvl1pPr lvl="0" indent="0" defTabSz="457063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Arial"/>
              <a:buNone/>
            </a:lvl1pPr>
            <a:lvl2pPr marL="0" lvl="1" indent="0" defTabSz="457063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FontTx/>
              <a:buNone/>
              <a:defRPr sz="1400" baseline="0">
                <a:solidFill>
                  <a:schemeClr val="tx2"/>
                </a:solidFill>
              </a:defRPr>
            </a:lvl2pPr>
            <a:lvl3pPr marL="228531" lvl="2" indent="-228531" defTabSz="457063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Font typeface="Lucida Grande"/>
              <a:buChar char="–"/>
              <a:defRPr sz="1400" baseline="0">
                <a:solidFill>
                  <a:schemeClr val="tx2"/>
                </a:solidFill>
              </a:defRPr>
            </a:lvl3pPr>
            <a:lvl4pPr marL="457063" lvl="3" indent="-231705" defTabSz="457063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Font typeface="Arial"/>
              <a:buChar char="•"/>
              <a:defRPr sz="1400">
                <a:solidFill>
                  <a:schemeClr val="tx2"/>
                </a:solidFill>
              </a:defRPr>
            </a:lvl4pPr>
            <a:lvl5pPr marL="685594" lvl="4" indent="-228531" defTabSz="457063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Font typeface="Lucida Grande"/>
              <a:buChar char="–"/>
              <a:defRPr sz="1400">
                <a:solidFill>
                  <a:schemeClr val="tx2"/>
                </a:solidFill>
              </a:defRPr>
            </a:lvl5pPr>
            <a:lvl6pPr marL="917300" lvl="5" indent="-228531" defTabSz="457063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Font typeface="Lucida Grande"/>
              <a:buChar char="»"/>
              <a:defRPr sz="1400" baseline="0">
                <a:solidFill>
                  <a:schemeClr val="tx2"/>
                </a:solidFill>
              </a:defRPr>
            </a:lvl6pPr>
            <a:lvl7pPr marL="1142657" lvl="6" indent="-225357" defTabSz="457063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Font typeface="Arial"/>
              <a:buChar char="•"/>
              <a:defRPr sz="1400">
                <a:solidFill>
                  <a:schemeClr val="tx2"/>
                </a:solidFill>
              </a:defRPr>
            </a:lvl7pPr>
            <a:lvl8pPr marL="3427971" indent="-228531" defTabSz="457063">
              <a:spcBef>
                <a:spcPct val="20000"/>
              </a:spcBef>
              <a:buFont typeface="Arial"/>
              <a:buChar char="•"/>
              <a:defRPr sz="1999"/>
            </a:lvl8pPr>
            <a:lvl9pPr marL="3885034" indent="-228531" defTabSz="457063">
              <a:spcBef>
                <a:spcPct val="20000"/>
              </a:spcBef>
              <a:buFont typeface="Arial"/>
              <a:buChar char="•"/>
              <a:defRPr sz="1999"/>
            </a:lvl9pPr>
          </a:lstStyle>
          <a:p>
            <a:pPr fontAlgn="auto">
              <a:buClr>
                <a:srgbClr val="000000"/>
              </a:buClr>
            </a:pPr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E773036A-30AD-4DA4-BBA0-DE1A7FE2020D}"/>
              </a:ext>
            </a:extLst>
          </p:cNvPr>
          <p:cNvSpPr txBox="1"/>
          <p:nvPr/>
        </p:nvSpPr>
        <p:spPr>
          <a:xfrm>
            <a:off x="2723782" y="3584673"/>
            <a:ext cx="1314457" cy="97872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lvl="1">
              <a:spcBef>
                <a:spcPct val="30000"/>
              </a:spcBef>
            </a:pPr>
            <a:r>
              <a:rPr lang="en-US" sz="1200" dirty="0"/>
              <a:t>Industry-focused modules on trends </a:t>
            </a:r>
          </a:p>
          <a:p>
            <a:pPr lvl="1">
              <a:spcBef>
                <a:spcPct val="30000"/>
              </a:spcBef>
            </a:pPr>
            <a:r>
              <a:rPr lang="en-US" sz="1200" dirty="0"/>
              <a:t>Required exam</a:t>
            </a:r>
          </a:p>
        </p:txBody>
      </p:sp>
      <p:sp>
        <p:nvSpPr>
          <p:cNvPr id="90" name="Rectangle 25"/>
          <p:cNvSpPr txBox="1">
            <a:spLocks/>
          </p:cNvSpPr>
          <p:nvPr>
            <p:custDataLst>
              <p:tags r:id="rId25"/>
            </p:custDataLst>
          </p:nvPr>
        </p:nvSpPr>
        <p:spPr>
          <a:xfrm>
            <a:off x="7226208" y="3557422"/>
            <a:ext cx="1416005" cy="1396824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vert="horz" lIns="74643" tIns="74643" rIns="74643" bIns="74643" rtlCol="0" anchor="t" anchorCtr="0">
            <a:noAutofit/>
          </a:bodyPr>
          <a:lstStyle>
            <a:defPPr>
              <a:defRPr lang="en-US"/>
            </a:defPPr>
            <a:lvl1pPr lvl="0" indent="0" defTabSz="457063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Arial"/>
              <a:buNone/>
            </a:lvl1pPr>
            <a:lvl2pPr marL="0" lvl="1" indent="0" defTabSz="457063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FontTx/>
              <a:buNone/>
              <a:defRPr sz="1400" baseline="0">
                <a:solidFill>
                  <a:schemeClr val="tx2"/>
                </a:solidFill>
              </a:defRPr>
            </a:lvl2pPr>
            <a:lvl3pPr marL="228531" lvl="2" indent="-228531" defTabSz="457063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Font typeface="Lucida Grande"/>
              <a:buChar char="–"/>
              <a:defRPr sz="1400" baseline="0">
                <a:solidFill>
                  <a:schemeClr val="tx2"/>
                </a:solidFill>
              </a:defRPr>
            </a:lvl3pPr>
            <a:lvl4pPr marL="457063" lvl="3" indent="-231705" defTabSz="457063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Font typeface="Arial"/>
              <a:buChar char="•"/>
              <a:defRPr sz="1400">
                <a:solidFill>
                  <a:schemeClr val="tx2"/>
                </a:solidFill>
              </a:defRPr>
            </a:lvl4pPr>
            <a:lvl5pPr marL="685594" lvl="4" indent="-228531" defTabSz="457063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Font typeface="Lucida Grande"/>
              <a:buChar char="–"/>
              <a:defRPr sz="1400">
                <a:solidFill>
                  <a:schemeClr val="tx2"/>
                </a:solidFill>
              </a:defRPr>
            </a:lvl5pPr>
            <a:lvl6pPr marL="917300" lvl="5" indent="-228531" defTabSz="457063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Font typeface="Lucida Grande"/>
              <a:buChar char="»"/>
              <a:defRPr sz="1400" baseline="0">
                <a:solidFill>
                  <a:schemeClr val="tx2"/>
                </a:solidFill>
              </a:defRPr>
            </a:lvl6pPr>
            <a:lvl7pPr marL="1142657" lvl="6" indent="-225357" defTabSz="457063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Font typeface="Arial"/>
              <a:buChar char="•"/>
              <a:defRPr sz="1400">
                <a:solidFill>
                  <a:schemeClr val="tx2"/>
                </a:solidFill>
              </a:defRPr>
            </a:lvl7pPr>
            <a:lvl8pPr marL="3427971" indent="-228531" defTabSz="457063">
              <a:spcBef>
                <a:spcPct val="20000"/>
              </a:spcBef>
              <a:buFont typeface="Arial"/>
              <a:buChar char="•"/>
              <a:defRPr sz="1999"/>
            </a:lvl8pPr>
            <a:lvl9pPr marL="3885034" indent="-228531" defTabSz="457063">
              <a:spcBef>
                <a:spcPct val="20000"/>
              </a:spcBef>
              <a:buFont typeface="Arial"/>
              <a:buChar char="•"/>
              <a:defRPr sz="1999"/>
            </a:lvl9pPr>
          </a:lstStyle>
          <a:p>
            <a:pPr fontAlgn="auto">
              <a:buClr>
                <a:srgbClr val="000000"/>
              </a:buClr>
            </a:pPr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0319AD8C-BC1F-4107-86E1-CDACD8E600C1}"/>
              </a:ext>
            </a:extLst>
          </p:cNvPr>
          <p:cNvSpPr txBox="1"/>
          <p:nvPr/>
        </p:nvSpPr>
        <p:spPr>
          <a:xfrm>
            <a:off x="7276985" y="3584673"/>
            <a:ext cx="1314457" cy="79406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lvl="1">
              <a:spcBef>
                <a:spcPct val="30000"/>
              </a:spcBef>
              <a:buClr>
                <a:schemeClr val="bg1"/>
              </a:buClr>
            </a:pPr>
            <a:r>
              <a:rPr lang="en-US" sz="1200" dirty="0">
                <a:solidFill>
                  <a:schemeClr val="bg1"/>
                </a:solidFill>
              </a:rPr>
              <a:t>Practical hunting skills</a:t>
            </a:r>
          </a:p>
          <a:p>
            <a:pPr lvl="1">
              <a:spcBef>
                <a:spcPct val="30000"/>
              </a:spcBef>
              <a:buClr>
                <a:schemeClr val="bg1"/>
              </a:buClr>
            </a:pPr>
            <a:r>
              <a:rPr lang="en-US" sz="1200" dirty="0">
                <a:solidFill>
                  <a:schemeClr val="bg1"/>
                </a:solidFill>
              </a:rPr>
              <a:t>Client engagement</a:t>
            </a:r>
          </a:p>
        </p:txBody>
      </p:sp>
      <p:sp>
        <p:nvSpPr>
          <p:cNvPr id="11" name="Rectangle 25"/>
          <p:cNvSpPr txBox="1">
            <a:spLocks/>
          </p:cNvSpPr>
          <p:nvPr>
            <p:custDataLst>
              <p:tags r:id="rId26"/>
            </p:custDataLst>
          </p:nvPr>
        </p:nvSpPr>
        <p:spPr>
          <a:xfrm>
            <a:off x="8729085" y="3557422"/>
            <a:ext cx="1416005" cy="1396824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vert="horz" lIns="74643" tIns="74643" rIns="74643" bIns="74643" rtlCol="0" anchor="t" anchorCtr="0">
            <a:noAutofit/>
          </a:bodyPr>
          <a:lstStyle>
            <a:defPPr>
              <a:defRPr lang="en-US"/>
            </a:defPPr>
            <a:lvl1pPr lvl="0" indent="0" defTabSz="457063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Arial"/>
              <a:buNone/>
            </a:lvl1pPr>
            <a:lvl2pPr marL="0" lvl="1" indent="0" defTabSz="457063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FontTx/>
              <a:buNone/>
              <a:defRPr sz="1400" baseline="0">
                <a:solidFill>
                  <a:schemeClr val="tx2"/>
                </a:solidFill>
              </a:defRPr>
            </a:lvl2pPr>
            <a:lvl3pPr marL="228531" lvl="2" indent="-228531" defTabSz="457063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Font typeface="Lucida Grande"/>
              <a:buChar char="–"/>
              <a:defRPr sz="1400" baseline="0">
                <a:solidFill>
                  <a:schemeClr val="tx2"/>
                </a:solidFill>
              </a:defRPr>
            </a:lvl3pPr>
            <a:lvl4pPr marL="457063" lvl="3" indent="-231705" defTabSz="457063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Font typeface="Arial"/>
              <a:buChar char="•"/>
              <a:defRPr sz="1400">
                <a:solidFill>
                  <a:schemeClr val="tx2"/>
                </a:solidFill>
              </a:defRPr>
            </a:lvl4pPr>
            <a:lvl5pPr marL="685594" lvl="4" indent="-228531" defTabSz="457063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Font typeface="Lucida Grande"/>
              <a:buChar char="–"/>
              <a:defRPr sz="1400">
                <a:solidFill>
                  <a:schemeClr val="tx2"/>
                </a:solidFill>
              </a:defRPr>
            </a:lvl5pPr>
            <a:lvl6pPr marL="917300" lvl="5" indent="-228531" defTabSz="457063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Font typeface="Lucida Grande"/>
              <a:buChar char="»"/>
              <a:defRPr sz="1400" baseline="0">
                <a:solidFill>
                  <a:schemeClr val="tx2"/>
                </a:solidFill>
              </a:defRPr>
            </a:lvl6pPr>
            <a:lvl7pPr marL="1142657" lvl="6" indent="-225357" defTabSz="457063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Font typeface="Arial"/>
              <a:buChar char="•"/>
              <a:defRPr sz="1400">
                <a:solidFill>
                  <a:schemeClr val="tx2"/>
                </a:solidFill>
              </a:defRPr>
            </a:lvl7pPr>
            <a:lvl8pPr marL="3427971" indent="-228531" defTabSz="457063">
              <a:spcBef>
                <a:spcPct val="20000"/>
              </a:spcBef>
              <a:buFont typeface="Arial"/>
              <a:buChar char="•"/>
              <a:defRPr sz="1999"/>
            </a:lvl8pPr>
            <a:lvl9pPr marL="3885034" indent="-228531" defTabSz="457063">
              <a:spcBef>
                <a:spcPct val="20000"/>
              </a:spcBef>
              <a:buFont typeface="Arial"/>
              <a:buChar char="•"/>
              <a:defRPr sz="1999"/>
            </a:lvl9pPr>
          </a:lstStyle>
          <a:p>
            <a:pPr fontAlgn="auto">
              <a:buClr>
                <a:srgbClr val="000000"/>
              </a:buClr>
            </a:pPr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2E7391DF-626D-427F-AE6A-35B870908ECF}"/>
              </a:ext>
            </a:extLst>
          </p:cNvPr>
          <p:cNvSpPr txBox="1"/>
          <p:nvPr/>
        </p:nvSpPr>
        <p:spPr>
          <a:xfrm>
            <a:off x="8779864" y="3584673"/>
            <a:ext cx="1314457" cy="1218795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lvl="1">
              <a:spcBef>
                <a:spcPct val="30000"/>
              </a:spcBef>
              <a:buClr>
                <a:schemeClr val="bg1"/>
              </a:buClr>
            </a:pPr>
            <a:r>
              <a:rPr lang="en-US" sz="1200" dirty="0">
                <a:solidFill>
                  <a:schemeClr val="bg1"/>
                </a:solidFill>
              </a:rPr>
              <a:t>Leveraging Sales Plays</a:t>
            </a:r>
          </a:p>
          <a:p>
            <a:pPr lvl="1">
              <a:spcBef>
                <a:spcPct val="30000"/>
              </a:spcBef>
              <a:buClr>
                <a:schemeClr val="bg1"/>
              </a:buClr>
            </a:pPr>
            <a:r>
              <a:rPr lang="en-US" sz="1200" dirty="0">
                <a:solidFill>
                  <a:schemeClr val="bg1"/>
                </a:solidFill>
              </a:rPr>
              <a:t>How to sell outside IT</a:t>
            </a:r>
          </a:p>
          <a:p>
            <a:pPr lvl="1">
              <a:spcBef>
                <a:spcPct val="30000"/>
              </a:spcBef>
              <a:buClr>
                <a:schemeClr val="bg1"/>
              </a:buClr>
            </a:pPr>
            <a:r>
              <a:rPr lang="en-US" sz="1200" dirty="0">
                <a:solidFill>
                  <a:schemeClr val="bg1"/>
                </a:solidFill>
              </a:rPr>
              <a:t>Case-based Role Plays</a:t>
            </a:r>
          </a:p>
        </p:txBody>
      </p:sp>
      <p:sp>
        <p:nvSpPr>
          <p:cNvPr id="9" name="Rectangle 25"/>
          <p:cNvSpPr txBox="1">
            <a:spLocks/>
          </p:cNvSpPr>
          <p:nvPr>
            <p:custDataLst>
              <p:tags r:id="rId27"/>
            </p:custDataLst>
          </p:nvPr>
        </p:nvSpPr>
        <p:spPr>
          <a:xfrm>
            <a:off x="5726009" y="3557422"/>
            <a:ext cx="1416005" cy="1396824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vert="horz" lIns="74643" tIns="74643" rIns="74643" bIns="74643" rtlCol="0" anchor="t" anchorCtr="0">
            <a:noAutofit/>
          </a:bodyPr>
          <a:lstStyle>
            <a:defPPr>
              <a:defRPr lang="en-US"/>
            </a:defPPr>
            <a:lvl1pPr lvl="0" indent="0" defTabSz="457063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Arial"/>
              <a:buNone/>
            </a:lvl1pPr>
            <a:lvl2pPr marL="0" lvl="1" indent="0" defTabSz="457063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FontTx/>
              <a:buNone/>
              <a:defRPr sz="1400" baseline="0">
                <a:solidFill>
                  <a:schemeClr val="tx2"/>
                </a:solidFill>
              </a:defRPr>
            </a:lvl2pPr>
            <a:lvl3pPr marL="228531" lvl="2" indent="-228531" defTabSz="457063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Font typeface="Lucida Grande"/>
              <a:buChar char="–"/>
              <a:defRPr sz="1400" baseline="0">
                <a:solidFill>
                  <a:schemeClr val="tx2"/>
                </a:solidFill>
              </a:defRPr>
            </a:lvl3pPr>
            <a:lvl4pPr marL="457063" lvl="3" indent="-231705" defTabSz="457063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Font typeface="Arial"/>
              <a:buChar char="•"/>
              <a:defRPr sz="1400">
                <a:solidFill>
                  <a:schemeClr val="tx2"/>
                </a:solidFill>
              </a:defRPr>
            </a:lvl4pPr>
            <a:lvl5pPr marL="685594" lvl="4" indent="-228531" defTabSz="457063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Font typeface="Lucida Grande"/>
              <a:buChar char="–"/>
              <a:defRPr sz="1400">
                <a:solidFill>
                  <a:schemeClr val="tx2"/>
                </a:solidFill>
              </a:defRPr>
            </a:lvl5pPr>
            <a:lvl6pPr marL="917300" lvl="5" indent="-228531" defTabSz="457063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Font typeface="Lucida Grande"/>
              <a:buChar char="»"/>
              <a:defRPr sz="1400" baseline="0">
                <a:solidFill>
                  <a:schemeClr val="tx2"/>
                </a:solidFill>
              </a:defRPr>
            </a:lvl6pPr>
            <a:lvl7pPr marL="1142657" lvl="6" indent="-225357" defTabSz="457063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Font typeface="Arial"/>
              <a:buChar char="•"/>
              <a:defRPr sz="1400">
                <a:solidFill>
                  <a:schemeClr val="tx2"/>
                </a:solidFill>
              </a:defRPr>
            </a:lvl7pPr>
            <a:lvl8pPr marL="3427971" indent="-228531" defTabSz="457063">
              <a:spcBef>
                <a:spcPct val="20000"/>
              </a:spcBef>
              <a:buFont typeface="Arial"/>
              <a:buChar char="•"/>
              <a:defRPr sz="1999"/>
            </a:lvl8pPr>
            <a:lvl9pPr marL="3885034" indent="-228531" defTabSz="457063">
              <a:spcBef>
                <a:spcPct val="20000"/>
              </a:spcBef>
              <a:buFont typeface="Arial"/>
              <a:buChar char="•"/>
              <a:defRPr sz="1999"/>
            </a:lvl9pPr>
          </a:lstStyle>
          <a:p>
            <a:pPr fontAlgn="auto">
              <a:buClr>
                <a:srgbClr val="000000"/>
              </a:buClr>
            </a:pPr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511D6143-F3CC-4994-8A9B-1840909F8FA5}"/>
              </a:ext>
            </a:extLst>
          </p:cNvPr>
          <p:cNvSpPr txBox="1"/>
          <p:nvPr/>
        </p:nvSpPr>
        <p:spPr>
          <a:xfrm>
            <a:off x="5776786" y="3584673"/>
            <a:ext cx="1314457" cy="1274195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lvl="1">
              <a:spcBef>
                <a:spcPct val="30000"/>
              </a:spcBef>
              <a:buClr>
                <a:schemeClr val="bg1"/>
              </a:buClr>
            </a:pPr>
            <a:r>
              <a:rPr lang="en-US" sz="1200" dirty="0">
                <a:solidFill>
                  <a:schemeClr val="bg1"/>
                </a:solidFill>
              </a:rPr>
              <a:t>Culture change required</a:t>
            </a:r>
          </a:p>
          <a:p>
            <a:pPr lvl="1">
              <a:spcBef>
                <a:spcPct val="30000"/>
              </a:spcBef>
              <a:buClr>
                <a:schemeClr val="bg1"/>
              </a:buClr>
            </a:pPr>
            <a:r>
              <a:rPr lang="en-US" sz="1200" dirty="0">
                <a:solidFill>
                  <a:schemeClr val="bg1"/>
                </a:solidFill>
              </a:rPr>
              <a:t>Measuring success</a:t>
            </a:r>
          </a:p>
          <a:p>
            <a:pPr lvl="1">
              <a:spcBef>
                <a:spcPct val="30000"/>
              </a:spcBef>
              <a:buClr>
                <a:schemeClr val="bg1"/>
              </a:buClr>
            </a:pPr>
            <a:r>
              <a:rPr lang="en-US" sz="1200" dirty="0">
                <a:solidFill>
                  <a:schemeClr val="bg1"/>
                </a:solidFill>
              </a:rPr>
              <a:t>Coaching</a:t>
            </a:r>
          </a:p>
          <a:p>
            <a:pPr lvl="1">
              <a:spcBef>
                <a:spcPct val="30000"/>
              </a:spcBef>
              <a:buClr>
                <a:schemeClr val="bg1"/>
              </a:buClr>
            </a:pPr>
            <a:r>
              <a:rPr lang="en-US" sz="1200" dirty="0">
                <a:solidFill>
                  <a:schemeClr val="bg1"/>
                </a:solidFill>
              </a:rPr>
              <a:t>Faculty prep</a:t>
            </a:r>
          </a:p>
        </p:txBody>
      </p:sp>
      <p:sp>
        <p:nvSpPr>
          <p:cNvPr id="12" name="Rectangle 25"/>
          <p:cNvSpPr txBox="1">
            <a:spLocks/>
          </p:cNvSpPr>
          <p:nvPr>
            <p:custDataLst>
              <p:tags r:id="rId28"/>
            </p:custDataLst>
          </p:nvPr>
        </p:nvSpPr>
        <p:spPr>
          <a:xfrm>
            <a:off x="10234645" y="3557422"/>
            <a:ext cx="1416005" cy="1396824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vert="horz" lIns="74643" tIns="74643" rIns="74643" bIns="74643" rtlCol="0" anchor="t" anchorCtr="0">
            <a:noAutofit/>
          </a:bodyPr>
          <a:lstStyle>
            <a:defPPr>
              <a:defRPr lang="en-US"/>
            </a:defPPr>
            <a:lvl1pPr lvl="0" indent="0" defTabSz="457063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Arial"/>
              <a:buNone/>
            </a:lvl1pPr>
            <a:lvl2pPr marL="0" lvl="1" indent="0" defTabSz="457063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FontTx/>
              <a:buNone/>
              <a:defRPr sz="1400" baseline="0">
                <a:solidFill>
                  <a:schemeClr val="tx2"/>
                </a:solidFill>
              </a:defRPr>
            </a:lvl2pPr>
            <a:lvl3pPr marL="228531" lvl="2" indent="-228531" defTabSz="457063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Font typeface="Lucida Grande"/>
              <a:buChar char="–"/>
              <a:defRPr sz="1400" baseline="0">
                <a:solidFill>
                  <a:schemeClr val="tx2"/>
                </a:solidFill>
              </a:defRPr>
            </a:lvl3pPr>
            <a:lvl4pPr marL="457063" lvl="3" indent="-231705" defTabSz="457063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Font typeface="Arial"/>
              <a:buChar char="•"/>
              <a:defRPr sz="1400">
                <a:solidFill>
                  <a:schemeClr val="tx2"/>
                </a:solidFill>
              </a:defRPr>
            </a:lvl4pPr>
            <a:lvl5pPr marL="685594" lvl="4" indent="-228531" defTabSz="457063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Font typeface="Lucida Grande"/>
              <a:buChar char="–"/>
              <a:defRPr sz="1400">
                <a:solidFill>
                  <a:schemeClr val="tx2"/>
                </a:solidFill>
              </a:defRPr>
            </a:lvl5pPr>
            <a:lvl6pPr marL="917300" lvl="5" indent="-228531" defTabSz="457063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Font typeface="Lucida Grande"/>
              <a:buChar char="»"/>
              <a:defRPr sz="1400" baseline="0">
                <a:solidFill>
                  <a:schemeClr val="tx2"/>
                </a:solidFill>
              </a:defRPr>
            </a:lvl6pPr>
            <a:lvl7pPr marL="1142657" lvl="6" indent="-225357" defTabSz="457063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Font typeface="Arial"/>
              <a:buChar char="•"/>
              <a:defRPr sz="1400">
                <a:solidFill>
                  <a:schemeClr val="tx2"/>
                </a:solidFill>
              </a:defRPr>
            </a:lvl7pPr>
            <a:lvl8pPr marL="3427971" indent="-228531" defTabSz="457063">
              <a:spcBef>
                <a:spcPct val="20000"/>
              </a:spcBef>
              <a:buFont typeface="Arial"/>
              <a:buChar char="•"/>
              <a:defRPr sz="1999"/>
            </a:lvl8pPr>
            <a:lvl9pPr marL="3885034" indent="-228531" defTabSz="457063">
              <a:spcBef>
                <a:spcPct val="20000"/>
              </a:spcBef>
              <a:buFont typeface="Arial"/>
              <a:buChar char="•"/>
              <a:defRPr sz="1999"/>
            </a:lvl9pPr>
          </a:lstStyle>
          <a:p>
            <a:pPr fontAlgn="auto">
              <a:buClr>
                <a:srgbClr val="000000"/>
              </a:buClr>
            </a:pPr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F2CB8452-13E6-4729-86EC-94571E4DE6BD}"/>
              </a:ext>
            </a:extLst>
          </p:cNvPr>
          <p:cNvSpPr txBox="1"/>
          <p:nvPr/>
        </p:nvSpPr>
        <p:spPr>
          <a:xfrm>
            <a:off x="10285419" y="3584673"/>
            <a:ext cx="1314457" cy="97872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lvl="1">
              <a:spcBef>
                <a:spcPct val="30000"/>
              </a:spcBef>
              <a:buClr>
                <a:schemeClr val="bg1"/>
              </a:buClr>
            </a:pPr>
            <a:r>
              <a:rPr lang="en-US" sz="1200" dirty="0">
                <a:solidFill>
                  <a:schemeClr val="bg1"/>
                </a:solidFill>
              </a:rPr>
              <a:t>Commercial activities tracked</a:t>
            </a:r>
          </a:p>
          <a:p>
            <a:pPr lvl="1">
              <a:spcBef>
                <a:spcPct val="30000"/>
              </a:spcBef>
              <a:buClr>
                <a:schemeClr val="bg1"/>
              </a:buClr>
            </a:pPr>
            <a:r>
              <a:rPr lang="en-US" sz="1200" dirty="0">
                <a:solidFill>
                  <a:schemeClr val="bg1"/>
                </a:solidFill>
              </a:rPr>
              <a:t>Certification awarded</a:t>
            </a:r>
          </a:p>
        </p:txBody>
      </p:sp>
      <p:sp>
        <p:nvSpPr>
          <p:cNvPr id="126" name="Title 1">
            <a:extLst>
              <a:ext uri="{FF2B5EF4-FFF2-40B4-BE49-F238E27FC236}">
                <a16:creationId xmlns:a16="http://schemas.microsoft.com/office/drawing/2014/main" id="{E2D1766B-1D40-4817-ABD1-1866A74E4E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8759" y="230189"/>
            <a:ext cx="11491891" cy="307777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r>
              <a:rPr lang="fr-BE" dirty="0"/>
              <a:t>O</a:t>
            </a:r>
            <a:r>
              <a:rPr lang="en-US" dirty="0"/>
              <a:t>verview of the change program</a:t>
            </a:r>
          </a:p>
        </p:txBody>
      </p:sp>
    </p:spTree>
    <p:extLst>
      <p:ext uri="{BB962C8B-B14F-4D97-AF65-F5344CB8AC3E}">
        <p14:creationId xmlns:p14="http://schemas.microsoft.com/office/powerpoint/2010/main" val="393407377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PVERSION" val="5"/>
  <p:tag name="TPFULLVERSION" val="5.3.2.24"/>
  <p:tag name="PPTVERSION" val="14"/>
  <p:tag name="TPOS" val="2"/>
  <p:tag name="APLORISREVISION" val="14"/>
  <p:tag name="ISNEWSLIDENUMBER" val="True"/>
  <p:tag name="NEWNAMES" val="True"/>
  <p:tag name="THINKCELLPRESENTATIONDONOTDELETE" val="&lt;?xml version=&quot;1.0&quot; encoding=&quot;UTF-16&quot; standalone=&quot;yes&quot;?&gt;&lt;root reqver=&quot;23045&quot;&gt;&lt;version val=&quot;25158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-%1-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9&quot;&gt;&lt;elem m_fUsage=&quot;1.89116192293290019677E+00&quot;&gt;&lt;m_msothmcolidx val=&quot;0&quot;/&gt;&lt;m_rgb r=&quot;8A&quot; g=&quot;A2&quot; b=&quot;FF&quot;/&gt;&lt;m_nBrightness val=&quot;0&quot;/&gt;&lt;/elem&gt;&lt;elem m_fUsage=&quot;1.65610000000000012754E+00&quot;&gt;&lt;m_msothmcolidx val=&quot;0&quot;/&gt;&lt;m_rgb r=&quot;FF&quot; g=&quot;7D&quot; b=&quot;87&quot;/&gt;&lt;m_nBrightness val=&quot;0&quot;/&gt;&lt;/elem&gt;&lt;elem m_fUsage=&quot;1.36535834209464912448E+00&quot;&gt;&lt;m_msothmcolidx val=&quot;0&quot;/&gt;&lt;m_rgb r=&quot;FB&quot; g=&quot;ED&quot; b=&quot;8E&quot;/&gt;&lt;m_nBrightness val=&quot;0&quot;/&gt;&lt;/elem&gt;&lt;elem m_fUsage=&quot;1.01809753738366515208E+00&quot;&gt;&lt;m_msothmcolidx val=&quot;0&quot;/&gt;&lt;m_rgb r=&quot;F2&quot; g=&quot;7F&quot; b=&quot;00&quot;/&gt;&lt;m_nBrightness val=&quot;0&quot;/&gt;&lt;/elem&gt;&lt;elem m_fUsage=&quot;9.00000000000000022204E-01&quot;&gt;&lt;m_msothmcolidx val=&quot;0&quot;/&gt;&lt;m_rgb r=&quot;9D&quot; g=&quot;EA&quot; b=&quot;99&quot;/&gt;&lt;m_nBrightness val=&quot;0&quot;/&gt;&lt;/elem&gt;&lt;elem m_fUsage=&quot;8.15220109103545254037E-01&quot;&gt;&lt;m_msothmcolidx val=&quot;0&quot;/&gt;&lt;m_rgb r=&quot;A3&quot; g=&quot;B3&quot; b=&quot;00&quot;/&gt;&lt;m_nBrightness val=&quot;0&quot;/&gt;&lt;/elem&gt;&lt;elem m_fUsage=&quot;6.99908989131512560000E-01&quot;&gt;&lt;m_msothmcolidx val=&quot;0&quot;/&gt;&lt;m_rgb r=&quot;CD&quot; g=&quot;20&quot; b=&quot;2C&quot;/&gt;&lt;m_nBrightness val=&quot;0&quot;/&gt;&lt;/elem&gt;&lt;elem m_fUsage=&quot;5.11197461030610145194E-01&quot;&gt;&lt;m_msothmcolidx val=&quot;0&quot;/&gt;&lt;m_rgb r=&quot;FF&quot; g=&quot;B0&quot; b=&quot;8A&quot;/&gt;&lt;m_nBrightness val=&quot;0&quot;/&gt;&lt;/elem&gt;&lt;elem m_fUsage=&quot;3.45291207554393686507E-01&quot;&gt;&lt;m_msothmcolidx val=&quot;0&quot;/&gt;&lt;m_rgb r=&quot;66&quot; g=&quot;66&quot; b=&quot;66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PREVIOUSNAME" val="C:\Users\Kumar J\Desktop\Client impact story_Sample (1).pptx"/>
  <p:tag name="MTBTACCENT" val="Accent4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F65U0bBRZ.WstQoOcJztw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VrFMrmoTN65jWxvuZG_vw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heme/theme1.xml><?xml version="1.0" encoding="utf-8"?>
<a:theme xmlns:a="http://schemas.openxmlformats.org/drawingml/2006/main" name="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10.xml><?xml version="1.0" encoding="utf-8"?>
<a:theme xmlns:a="http://schemas.openxmlformats.org/drawingml/2006/main" name="9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11.xml><?xml version="1.0" encoding="utf-8"?>
<a:theme xmlns:a="http://schemas.openxmlformats.org/drawingml/2006/main" name="10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12.xml><?xml version="1.0" encoding="utf-8"?>
<a:theme xmlns:a="http://schemas.openxmlformats.org/drawingml/2006/main" name="11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13.xml><?xml version="1.0" encoding="utf-8"?>
<a:theme xmlns:a="http://schemas.openxmlformats.org/drawingml/2006/main" name="12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14.xml><?xml version="1.0" encoding="utf-8"?>
<a:theme xmlns:a="http://schemas.openxmlformats.org/drawingml/2006/main" name="13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15.xml><?xml version="1.0" encoding="utf-8"?>
<a:theme xmlns:a="http://schemas.openxmlformats.org/drawingml/2006/main" name="14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16.xml><?xml version="1.0" encoding="utf-8"?>
<a:theme xmlns:a="http://schemas.openxmlformats.org/drawingml/2006/main" name="15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17.xml><?xml version="1.0" encoding="utf-8"?>
<a:theme xmlns:a="http://schemas.openxmlformats.org/drawingml/2006/main" name="16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18.xml><?xml version="1.0" encoding="utf-8"?>
<a:theme xmlns:a="http://schemas.openxmlformats.org/drawingml/2006/main" name="17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19.xml><?xml version="1.0" encoding="utf-8"?>
<a:theme xmlns:a="http://schemas.openxmlformats.org/drawingml/2006/main" name="18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2.xml><?xml version="1.0" encoding="utf-8"?>
<a:theme xmlns:a="http://schemas.openxmlformats.org/drawingml/2006/main" name="1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20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1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8_Firm Format - template_Blue">
  <a:themeElements>
    <a:clrScheme name="Cyan_blu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5BD"/>
      </a:accent3>
      <a:accent4>
        <a:srgbClr val="002960"/>
      </a:accent4>
      <a:accent5>
        <a:srgbClr val="F27F00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4.xml><?xml version="1.0" encoding="utf-8"?>
<a:theme xmlns:a="http://schemas.openxmlformats.org/drawingml/2006/main" name="2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5.xml><?xml version="1.0" encoding="utf-8"?>
<a:theme xmlns:a="http://schemas.openxmlformats.org/drawingml/2006/main" name="3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6.xml><?xml version="1.0" encoding="utf-8"?>
<a:theme xmlns:a="http://schemas.openxmlformats.org/drawingml/2006/main" name="4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7.xml><?xml version="1.0" encoding="utf-8"?>
<a:theme xmlns:a="http://schemas.openxmlformats.org/drawingml/2006/main" name="5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8.xml><?xml version="1.0" encoding="utf-8"?>
<a:theme xmlns:a="http://schemas.openxmlformats.org/drawingml/2006/main" name="6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9.xml><?xml version="1.0" encoding="utf-8"?>
<a:theme xmlns:a="http://schemas.openxmlformats.org/drawingml/2006/main" name="7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319</Words>
  <Application>Microsoft Macintosh PowerPoint</Application>
  <PresentationFormat>Custom</PresentationFormat>
  <Paragraphs>88</Paragraphs>
  <Slides>3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1</vt:i4>
      </vt:variant>
      <vt:variant>
        <vt:lpstr>Theme</vt:lpstr>
      </vt:variant>
      <vt:variant>
        <vt:i4>19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24" baseType="lpstr">
      <vt:lpstr>Arial</vt:lpstr>
      <vt:lpstr>Firm Format - template_Blue</vt:lpstr>
      <vt:lpstr>1_Firm Format - template_Blue</vt:lpstr>
      <vt:lpstr>8_Firm Format - template_Blue</vt:lpstr>
      <vt:lpstr>2_Firm Format - template_Blue</vt:lpstr>
      <vt:lpstr>3_Firm Format - template_Blue</vt:lpstr>
      <vt:lpstr>4_Firm Format - template_Blue</vt:lpstr>
      <vt:lpstr>5_Firm Format - template_Blue</vt:lpstr>
      <vt:lpstr>6_Firm Format - template_Blue</vt:lpstr>
      <vt:lpstr>7_Firm Format - template_Blue</vt:lpstr>
      <vt:lpstr>9_Firm Format - template_Blue</vt:lpstr>
      <vt:lpstr>10_Firm Format - template_Blue</vt:lpstr>
      <vt:lpstr>11_Firm Format - template_Blue</vt:lpstr>
      <vt:lpstr>12_Firm Format - template_Blue</vt:lpstr>
      <vt:lpstr>13_Firm Format - template_Blue</vt:lpstr>
      <vt:lpstr>14_Firm Format - template_Blue</vt:lpstr>
      <vt:lpstr>15_Firm Format - template_Blue</vt:lpstr>
      <vt:lpstr>16_Firm Format - template_Blue</vt:lpstr>
      <vt:lpstr>17_Firm Format - template_Blue</vt:lpstr>
      <vt:lpstr>18_Firm Format - template_Blue</vt:lpstr>
      <vt:lpstr>think-cell Slide</vt:lpstr>
      <vt:lpstr>PowerPoint Presentation</vt:lpstr>
      <vt:lpstr>Case example: Sales Capability Building as a Transformation Enabler</vt:lpstr>
      <vt:lpstr>Overview of the change program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/>
  <cp:keywords/>
  <dc:description/>
  <cp:lastModifiedBy/>
  <cp:revision>1</cp:revision>
  <cp:lastPrinted>2015-09-09T11:04:28Z</cp:lastPrinted>
  <dcterms:created xsi:type="dcterms:W3CDTF">2018-01-23T08:17:27Z</dcterms:created>
  <dcterms:modified xsi:type="dcterms:W3CDTF">2019-03-12T04:24:33Z</dcterms:modified>
  <cp:category/>
  <cp:contentStatus/>
  <dc:language/>
  <cp:version/>
</cp:coreProperties>
</file>